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3" r:id="rId4"/>
    <p:sldMasterId id="2147483694" r:id="rId5"/>
  </p:sldMasterIdLst>
  <p:notesMasterIdLst>
    <p:notesMasterId r:id="rId15"/>
  </p:notesMasterIdLst>
  <p:handoutMasterIdLst>
    <p:handoutMasterId r:id="rId16"/>
  </p:handoutMasterIdLst>
  <p:sldIdLst>
    <p:sldId id="2147329371" r:id="rId6"/>
    <p:sldId id="2147329364" r:id="rId7"/>
    <p:sldId id="2147329355" r:id="rId8"/>
    <p:sldId id="2147329354" r:id="rId9"/>
    <p:sldId id="2147329366" r:id="rId10"/>
    <p:sldId id="2147329367" r:id="rId11"/>
    <p:sldId id="2147329369" r:id="rId12"/>
    <p:sldId id="2147329370" r:id="rId13"/>
    <p:sldId id="2147329359" r:id="rId14"/>
  </p:sldIdLst>
  <p:sldSz cx="12192000" cy="6858000"/>
  <p:notesSz cx="6858000" cy="9144000"/>
  <p:custDataLst>
    <p:tags r:id="rId17"/>
  </p:custDataLst>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A8E1BEE5-AB93-A145-AE9F-8B7DA0A34C6B}">
          <p14:sldIdLst>
            <p14:sldId id="2147329371"/>
            <p14:sldId id="2147329364"/>
            <p14:sldId id="2147329355"/>
            <p14:sldId id="2147329354"/>
            <p14:sldId id="2147329366"/>
            <p14:sldId id="2147329367"/>
            <p14:sldId id="2147329369"/>
            <p14:sldId id="2147329370"/>
          </p14:sldIdLst>
        </p14:section>
        <p14:section name="Thank you slides" id="{79301536-0A71-044D-AE75-B66D7285AFD0}">
          <p14:sldIdLst>
            <p14:sldId id="214732935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A524451-1A9E-539D-0806-A351CE76114D}" name="Andy Van Laer" initials="AVL" userId="S::andy@butterlides.onmicrosoft.com::27c39745-3ea2-476c-8021-4d8d78667f7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ontecucco Chiara" initials="MC" lastIdx="69" clrIdx="0">
    <p:extLst>
      <p:ext uri="{19B8F6BF-5375-455C-9EA6-DF929625EA0E}">
        <p15:presenceInfo xmlns:p15="http://schemas.microsoft.com/office/powerpoint/2012/main" userId="S::Chiara.Montecucco@ucb.com::e18960d9-221c-484a-8a61-5d1196ed13a7" providerId="AD"/>
      </p:ext>
    </p:extLst>
  </p:cmAuthor>
  <p:cmAuthor id="2" name="Andy Van Laer" initials="AVL" lastIdx="21" clrIdx="1">
    <p:extLst>
      <p:ext uri="{19B8F6BF-5375-455C-9EA6-DF929625EA0E}">
        <p15:presenceInfo xmlns:p15="http://schemas.microsoft.com/office/powerpoint/2012/main" userId="S::andy@butterlides.onmicrosoft.com::27c39745-3ea2-476c-8021-4d8d78667f7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D9D9"/>
    <a:srgbClr val="797AA9"/>
    <a:srgbClr val="0014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A7EFF5-A59F-4E38-9075-C06A74CBC781}" v="24" dt="2022-07-11T03:24:02.437"/>
    <p1510:client id="{CBDBF588-0C44-4B2C-94C3-C15333D57343}" v="5118" dt="2022-07-11T03:22:19.925"/>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14" y="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 Jiahui" userId="b5a296b4-ed07-4cb8-ad93-081918e5dfea" providerId="ADAL" clId="{04A7EFF5-A59F-4E38-9075-C06A74CBC781}"/>
    <pc:docChg chg="delSld modSld modSection">
      <pc:chgData name="Lin Jiahui" userId="b5a296b4-ed07-4cb8-ad93-081918e5dfea" providerId="ADAL" clId="{04A7EFF5-A59F-4E38-9075-C06A74CBC781}" dt="2022-07-11T03:23:59.946" v="3" actId="20577"/>
      <pc:docMkLst>
        <pc:docMk/>
      </pc:docMkLst>
      <pc:sldChg chg="modSp mod">
        <pc:chgData name="Lin Jiahui" userId="b5a296b4-ed07-4cb8-ad93-081918e5dfea" providerId="ADAL" clId="{04A7EFF5-A59F-4E38-9075-C06A74CBC781}" dt="2022-07-11T03:23:38.966" v="0" actId="20577"/>
        <pc:sldMkLst>
          <pc:docMk/>
          <pc:sldMk cId="1217427297" sldId="2147329364"/>
        </pc:sldMkLst>
        <pc:spChg chg="mod">
          <ac:chgData name="Lin Jiahui" userId="b5a296b4-ed07-4cb8-ad93-081918e5dfea" providerId="ADAL" clId="{04A7EFF5-A59F-4E38-9075-C06A74CBC781}" dt="2022-07-11T03:23:38.966" v="0" actId="20577"/>
          <ac:spMkLst>
            <pc:docMk/>
            <pc:sldMk cId="1217427297" sldId="2147329364"/>
            <ac:spMk id="7" creationId="{EB27B67F-57A1-4B84-B63A-75F2B77C244C}"/>
          </ac:spMkLst>
        </pc:spChg>
      </pc:sldChg>
      <pc:sldChg chg="del">
        <pc:chgData name="Lin Jiahui" userId="b5a296b4-ed07-4cb8-ad93-081918e5dfea" providerId="ADAL" clId="{04A7EFF5-A59F-4E38-9075-C06A74CBC781}" dt="2022-07-11T03:23:52.169" v="1" actId="47"/>
        <pc:sldMkLst>
          <pc:docMk/>
          <pc:sldMk cId="3290575415" sldId="2147329368"/>
        </pc:sldMkLst>
      </pc:sldChg>
      <pc:sldChg chg="modSp mod">
        <pc:chgData name="Lin Jiahui" userId="b5a296b4-ed07-4cb8-ad93-081918e5dfea" providerId="ADAL" clId="{04A7EFF5-A59F-4E38-9075-C06A74CBC781}" dt="2022-07-11T03:23:56.253" v="2" actId="20577"/>
        <pc:sldMkLst>
          <pc:docMk/>
          <pc:sldMk cId="4293538043" sldId="2147329369"/>
        </pc:sldMkLst>
        <pc:spChg chg="mod">
          <ac:chgData name="Lin Jiahui" userId="b5a296b4-ed07-4cb8-ad93-081918e5dfea" providerId="ADAL" clId="{04A7EFF5-A59F-4E38-9075-C06A74CBC781}" dt="2022-07-11T03:23:56.253" v="2" actId="20577"/>
          <ac:spMkLst>
            <pc:docMk/>
            <pc:sldMk cId="4293538043" sldId="2147329369"/>
            <ac:spMk id="11" creationId="{52562AA3-EBAF-45B0-89CD-6F98E0BC8B08}"/>
          </ac:spMkLst>
        </pc:spChg>
      </pc:sldChg>
      <pc:sldChg chg="modSp mod">
        <pc:chgData name="Lin Jiahui" userId="b5a296b4-ed07-4cb8-ad93-081918e5dfea" providerId="ADAL" clId="{04A7EFF5-A59F-4E38-9075-C06A74CBC781}" dt="2022-07-11T03:23:59.946" v="3" actId="20577"/>
        <pc:sldMkLst>
          <pc:docMk/>
          <pc:sldMk cId="1961375317" sldId="2147329370"/>
        </pc:sldMkLst>
        <pc:spChg chg="mod">
          <ac:chgData name="Lin Jiahui" userId="b5a296b4-ed07-4cb8-ad93-081918e5dfea" providerId="ADAL" clId="{04A7EFF5-A59F-4E38-9075-C06A74CBC781}" dt="2022-07-11T03:23:59.946" v="3" actId="20577"/>
          <ac:spMkLst>
            <pc:docMk/>
            <pc:sldMk cId="1961375317" sldId="2147329370"/>
            <ac:spMk id="11" creationId="{5390B9F4-95D2-4580-B390-CC61EE2ED9D4}"/>
          </ac:spMkLst>
        </pc:spChg>
      </pc:sldChg>
    </pc:docChg>
  </pc:docChgLst>
  <pc:docChgLst>
    <pc:chgData name="Lin Jiahui" userId="b5a296b4-ed07-4cb8-ad93-081918e5dfea" providerId="ADAL" clId="{CBDBF588-0C44-4B2C-94C3-C15333D57343}"/>
    <pc:docChg chg="undo redo custSel addSld delSld modSld modMainMaster addSection delSection modSection">
      <pc:chgData name="Lin Jiahui" userId="b5a296b4-ed07-4cb8-ad93-081918e5dfea" providerId="ADAL" clId="{CBDBF588-0C44-4B2C-94C3-C15333D57343}" dt="2022-07-11T03:22:18" v="7458" actId="1038"/>
      <pc:docMkLst>
        <pc:docMk/>
      </pc:docMkLst>
      <pc:sldChg chg="modSp del mod">
        <pc:chgData name="Lin Jiahui" userId="b5a296b4-ed07-4cb8-ad93-081918e5dfea" providerId="ADAL" clId="{CBDBF588-0C44-4B2C-94C3-C15333D57343}" dt="2022-07-11T03:15:51.806" v="7293" actId="47"/>
        <pc:sldMkLst>
          <pc:docMk/>
          <pc:sldMk cId="3481872161" sldId="272"/>
        </pc:sldMkLst>
        <pc:spChg chg="mod">
          <ac:chgData name="Lin Jiahui" userId="b5a296b4-ed07-4cb8-ad93-081918e5dfea" providerId="ADAL" clId="{CBDBF588-0C44-4B2C-94C3-C15333D57343}" dt="2022-07-06T09:01:02.648" v="7108" actId="20577"/>
          <ac:spMkLst>
            <pc:docMk/>
            <pc:sldMk cId="3481872161" sldId="272"/>
            <ac:spMk id="13" creationId="{0BAB0677-0483-4397-822F-DFDB13D55896}"/>
          </ac:spMkLst>
        </pc:spChg>
        <pc:spChg chg="mod">
          <ac:chgData name="Lin Jiahui" userId="b5a296b4-ed07-4cb8-ad93-081918e5dfea" providerId="ADAL" clId="{CBDBF588-0C44-4B2C-94C3-C15333D57343}" dt="2022-07-04T09:20:02.899" v="5065"/>
          <ac:spMkLst>
            <pc:docMk/>
            <pc:sldMk cId="3481872161" sldId="272"/>
            <ac:spMk id="14" creationId="{10F4BB33-317A-4009-9205-3ADC9CFD2783}"/>
          </ac:spMkLst>
        </pc:spChg>
      </pc:sldChg>
      <pc:sldChg chg="modSp del mod">
        <pc:chgData name="Lin Jiahui" userId="b5a296b4-ed07-4cb8-ad93-081918e5dfea" providerId="ADAL" clId="{CBDBF588-0C44-4B2C-94C3-C15333D57343}" dt="2022-07-11T03:14:52.045" v="7285" actId="47"/>
        <pc:sldMkLst>
          <pc:docMk/>
          <pc:sldMk cId="2818822035" sldId="2147329353"/>
        </pc:sldMkLst>
        <pc:spChg chg="mod">
          <ac:chgData name="Lin Jiahui" userId="b5a296b4-ed07-4cb8-ad93-081918e5dfea" providerId="ADAL" clId="{CBDBF588-0C44-4B2C-94C3-C15333D57343}" dt="2022-07-04T05:44:58.489" v="128" actId="20577"/>
          <ac:spMkLst>
            <pc:docMk/>
            <pc:sldMk cId="2818822035" sldId="2147329353"/>
            <ac:spMk id="11" creationId="{3A4CCF11-A81E-4CCA-9C1F-528B1B7DFEC7}"/>
          </ac:spMkLst>
        </pc:spChg>
        <pc:spChg chg="mod">
          <ac:chgData name="Lin Jiahui" userId="b5a296b4-ed07-4cb8-ad93-081918e5dfea" providerId="ADAL" clId="{CBDBF588-0C44-4B2C-94C3-C15333D57343}" dt="2022-07-04T05:45:13.203" v="199" actId="20577"/>
          <ac:spMkLst>
            <pc:docMk/>
            <pc:sldMk cId="2818822035" sldId="2147329353"/>
            <ac:spMk id="12" creationId="{F27C6D7E-402D-4EEB-BD69-14D7D78DBCAC}"/>
          </ac:spMkLst>
        </pc:spChg>
      </pc:sldChg>
      <pc:sldChg chg="del">
        <pc:chgData name="Lin Jiahui" userId="b5a296b4-ed07-4cb8-ad93-081918e5dfea" providerId="ADAL" clId="{CBDBF588-0C44-4B2C-94C3-C15333D57343}" dt="2022-07-04T05:38:34.641" v="0" actId="47"/>
        <pc:sldMkLst>
          <pc:docMk/>
          <pc:sldMk cId="2202978351" sldId="2147329354"/>
        </pc:sldMkLst>
      </pc:sldChg>
      <pc:sldChg chg="addSp delSp modSp new add mod">
        <pc:chgData name="Lin Jiahui" userId="b5a296b4-ed07-4cb8-ad93-081918e5dfea" providerId="ADAL" clId="{CBDBF588-0C44-4B2C-94C3-C15333D57343}" dt="2022-07-05T06:48:03.956" v="6626" actId="113"/>
        <pc:sldMkLst>
          <pc:docMk/>
          <pc:sldMk cId="2524282992" sldId="2147329354"/>
        </pc:sldMkLst>
        <pc:spChg chg="mod">
          <ac:chgData name="Lin Jiahui" userId="b5a296b4-ed07-4cb8-ad93-081918e5dfea" providerId="ADAL" clId="{CBDBF588-0C44-4B2C-94C3-C15333D57343}" dt="2022-07-04T06:09:58.391" v="1857" actId="948"/>
          <ac:spMkLst>
            <pc:docMk/>
            <pc:sldMk cId="2524282992" sldId="2147329354"/>
            <ac:spMk id="2" creationId="{FE25D879-E4BE-438D-9B09-8C8ED106D11C}"/>
          </ac:spMkLst>
        </pc:spChg>
        <pc:spChg chg="del">
          <ac:chgData name="Lin Jiahui" userId="b5a296b4-ed07-4cb8-ad93-081918e5dfea" providerId="ADAL" clId="{CBDBF588-0C44-4B2C-94C3-C15333D57343}" dt="2022-07-04T07:53:27.942" v="3544" actId="478"/>
          <ac:spMkLst>
            <pc:docMk/>
            <pc:sldMk cId="2524282992" sldId="2147329354"/>
            <ac:spMk id="3" creationId="{F9CB6872-917A-40DE-8CE5-6DF5F5775758}"/>
          </ac:spMkLst>
        </pc:spChg>
        <pc:spChg chg="mod">
          <ac:chgData name="Lin Jiahui" userId="b5a296b4-ed07-4cb8-ad93-081918e5dfea" providerId="ADAL" clId="{CBDBF588-0C44-4B2C-94C3-C15333D57343}" dt="2022-07-04T06:49:34.999" v="2712" actId="20577"/>
          <ac:spMkLst>
            <pc:docMk/>
            <pc:sldMk cId="2524282992" sldId="2147329354"/>
            <ac:spMk id="4" creationId="{BDB54E2D-EF73-4ADC-B75E-F92596DF8E6C}"/>
          </ac:spMkLst>
        </pc:spChg>
        <pc:spChg chg="del">
          <ac:chgData name="Lin Jiahui" userId="b5a296b4-ed07-4cb8-ad93-081918e5dfea" providerId="ADAL" clId="{CBDBF588-0C44-4B2C-94C3-C15333D57343}" dt="2022-07-04T06:10:03.613" v="1899" actId="478"/>
          <ac:spMkLst>
            <pc:docMk/>
            <pc:sldMk cId="2524282992" sldId="2147329354"/>
            <ac:spMk id="5" creationId="{5E0217D6-74A1-4D0F-8214-EC0665871C5B}"/>
          </ac:spMkLst>
        </pc:spChg>
        <pc:spChg chg="add del mod modVis">
          <ac:chgData name="Lin Jiahui" userId="b5a296b4-ed07-4cb8-ad93-081918e5dfea" providerId="ADAL" clId="{CBDBF588-0C44-4B2C-94C3-C15333D57343}" dt="2022-07-04T06:09:54.437" v="1747"/>
          <ac:spMkLst>
            <pc:docMk/>
            <pc:sldMk cId="2524282992" sldId="2147329354"/>
            <ac:spMk id="7" creationId="{C1ACC509-FBE5-4FCE-8A8A-C8CDAE6E9FEC}"/>
          </ac:spMkLst>
        </pc:spChg>
        <pc:spChg chg="add del mod modVis">
          <ac:chgData name="Lin Jiahui" userId="b5a296b4-ed07-4cb8-ad93-081918e5dfea" providerId="ADAL" clId="{CBDBF588-0C44-4B2C-94C3-C15333D57343}" dt="2022-07-04T06:09:55.339" v="1793"/>
          <ac:spMkLst>
            <pc:docMk/>
            <pc:sldMk cId="2524282992" sldId="2147329354"/>
            <ac:spMk id="8" creationId="{950CC6DA-9990-40D1-9119-E9257DD6BA0A}"/>
          </ac:spMkLst>
        </pc:spChg>
        <pc:spChg chg="add del mod modVis">
          <ac:chgData name="Lin Jiahui" userId="b5a296b4-ed07-4cb8-ad93-081918e5dfea" providerId="ADAL" clId="{CBDBF588-0C44-4B2C-94C3-C15333D57343}" dt="2022-07-04T06:09:57.871" v="1851"/>
          <ac:spMkLst>
            <pc:docMk/>
            <pc:sldMk cId="2524282992" sldId="2147329354"/>
            <ac:spMk id="9" creationId="{3205F45A-7300-42E8-B002-F8492C6F7941}"/>
          </ac:spMkLst>
        </pc:spChg>
        <pc:spChg chg="add del mod modVis">
          <ac:chgData name="Lin Jiahui" userId="b5a296b4-ed07-4cb8-ad93-081918e5dfea" providerId="ADAL" clId="{CBDBF588-0C44-4B2C-94C3-C15333D57343}" dt="2022-07-04T06:09:58.436" v="1896"/>
          <ac:spMkLst>
            <pc:docMk/>
            <pc:sldMk cId="2524282992" sldId="2147329354"/>
            <ac:spMk id="10" creationId="{50146944-0592-48B4-9CBC-32507CB2A03A}"/>
          </ac:spMkLst>
        </pc:spChg>
        <pc:spChg chg="add del">
          <ac:chgData name="Lin Jiahui" userId="b5a296b4-ed07-4cb8-ad93-081918e5dfea" providerId="ADAL" clId="{CBDBF588-0C44-4B2C-94C3-C15333D57343}" dt="2022-07-04T06:12:26.802" v="1902"/>
          <ac:spMkLst>
            <pc:docMk/>
            <pc:sldMk cId="2524282992" sldId="2147329354"/>
            <ac:spMk id="11" creationId="{65DB44B5-E5FC-453C-9B8E-560889C764A4}"/>
          </ac:spMkLst>
        </pc:spChg>
        <pc:spChg chg="add del">
          <ac:chgData name="Lin Jiahui" userId="b5a296b4-ed07-4cb8-ad93-081918e5dfea" providerId="ADAL" clId="{CBDBF588-0C44-4B2C-94C3-C15333D57343}" dt="2022-07-04T06:12:29.636" v="1904" actId="478"/>
          <ac:spMkLst>
            <pc:docMk/>
            <pc:sldMk cId="2524282992" sldId="2147329354"/>
            <ac:spMk id="12" creationId="{02F2938C-4F70-40B4-AC4C-96E7D8419717}"/>
          </ac:spMkLst>
        </pc:spChg>
        <pc:spChg chg="add mod">
          <ac:chgData name="Lin Jiahui" userId="b5a296b4-ed07-4cb8-ad93-081918e5dfea" providerId="ADAL" clId="{CBDBF588-0C44-4B2C-94C3-C15333D57343}" dt="2022-07-04T06:37:26.524" v="2199" actId="404"/>
          <ac:spMkLst>
            <pc:docMk/>
            <pc:sldMk cId="2524282992" sldId="2147329354"/>
            <ac:spMk id="15" creationId="{379A7889-5D2D-4CCD-938B-2C35369E2B0D}"/>
          </ac:spMkLst>
        </pc:spChg>
        <pc:spChg chg="add mod">
          <ac:chgData name="Lin Jiahui" userId="b5a296b4-ed07-4cb8-ad93-081918e5dfea" providerId="ADAL" clId="{CBDBF588-0C44-4B2C-94C3-C15333D57343}" dt="2022-07-04T06:48:31.478" v="2703" actId="255"/>
          <ac:spMkLst>
            <pc:docMk/>
            <pc:sldMk cId="2524282992" sldId="2147329354"/>
            <ac:spMk id="19" creationId="{5D714A4A-A2FE-49CE-BF02-5D7DEC5FD8B0}"/>
          </ac:spMkLst>
        </pc:spChg>
        <pc:spChg chg="add mod">
          <ac:chgData name="Lin Jiahui" userId="b5a296b4-ed07-4cb8-ad93-081918e5dfea" providerId="ADAL" clId="{CBDBF588-0C44-4B2C-94C3-C15333D57343}" dt="2022-07-05T02:56:53.127" v="5090" actId="947"/>
          <ac:spMkLst>
            <pc:docMk/>
            <pc:sldMk cId="2524282992" sldId="2147329354"/>
            <ac:spMk id="21" creationId="{F9F67219-C2B9-4598-9375-6E8A493EBA7F}"/>
          </ac:spMkLst>
        </pc:spChg>
        <pc:spChg chg="add mod">
          <ac:chgData name="Lin Jiahui" userId="b5a296b4-ed07-4cb8-ad93-081918e5dfea" providerId="ADAL" clId="{CBDBF588-0C44-4B2C-94C3-C15333D57343}" dt="2022-07-05T06:48:03.956" v="6626" actId="113"/>
          <ac:spMkLst>
            <pc:docMk/>
            <pc:sldMk cId="2524282992" sldId="2147329354"/>
            <ac:spMk id="23" creationId="{C1C5EE47-F8D3-4C9F-9E3A-C2AC34EE22B6}"/>
          </ac:spMkLst>
        </pc:spChg>
        <pc:spChg chg="add mod">
          <ac:chgData name="Lin Jiahui" userId="b5a296b4-ed07-4cb8-ad93-081918e5dfea" providerId="ADAL" clId="{CBDBF588-0C44-4B2C-94C3-C15333D57343}" dt="2022-07-04T06:48:10.338" v="2697" actId="1076"/>
          <ac:spMkLst>
            <pc:docMk/>
            <pc:sldMk cId="2524282992" sldId="2147329354"/>
            <ac:spMk id="25" creationId="{803D961B-EFA5-4103-854D-DD1DCEEE011F}"/>
          </ac:spMkLst>
        </pc:spChg>
        <pc:spChg chg="add mod">
          <ac:chgData name="Lin Jiahui" userId="b5a296b4-ed07-4cb8-ad93-081918e5dfea" providerId="ADAL" clId="{CBDBF588-0C44-4B2C-94C3-C15333D57343}" dt="2022-07-05T03:02:50.736" v="5379" actId="404"/>
          <ac:spMkLst>
            <pc:docMk/>
            <pc:sldMk cId="2524282992" sldId="2147329354"/>
            <ac:spMk id="27" creationId="{9CEDBA37-0268-48DB-8BCC-246C95F4EF64}"/>
          </ac:spMkLst>
        </pc:spChg>
        <pc:graphicFrameChg chg="add mod ord modVis">
          <ac:chgData name="Lin Jiahui" userId="b5a296b4-ed07-4cb8-ad93-081918e5dfea" providerId="ADAL" clId="{CBDBF588-0C44-4B2C-94C3-C15333D57343}" dt="2022-07-04T06:09:58.441" v="1898"/>
          <ac:graphicFrameMkLst>
            <pc:docMk/>
            <pc:sldMk cId="2524282992" sldId="2147329354"/>
            <ac:graphicFrameMk id="6" creationId="{60A6D52F-5287-4892-97F5-54C74476B387}"/>
          </ac:graphicFrameMkLst>
        </pc:graphicFrameChg>
        <pc:picChg chg="add del mod">
          <ac:chgData name="Lin Jiahui" userId="b5a296b4-ed07-4cb8-ad93-081918e5dfea" providerId="ADAL" clId="{CBDBF588-0C44-4B2C-94C3-C15333D57343}" dt="2022-07-04T07:14:15.846" v="3022" actId="478"/>
          <ac:picMkLst>
            <pc:docMk/>
            <pc:sldMk cId="2524282992" sldId="2147329354"/>
            <ac:picMk id="14" creationId="{2B92C6C1-0CB9-4399-B151-FCCBC6B33F9E}"/>
          </ac:picMkLst>
        </pc:picChg>
        <pc:picChg chg="add del mod">
          <ac:chgData name="Lin Jiahui" userId="b5a296b4-ed07-4cb8-ad93-081918e5dfea" providerId="ADAL" clId="{CBDBF588-0C44-4B2C-94C3-C15333D57343}" dt="2022-07-04T07:14:15.846" v="3022" actId="478"/>
          <ac:picMkLst>
            <pc:docMk/>
            <pc:sldMk cId="2524282992" sldId="2147329354"/>
            <ac:picMk id="20" creationId="{4A17BBF5-93B1-402F-A530-73592CBE22B2}"/>
          </ac:picMkLst>
        </pc:picChg>
        <pc:picChg chg="add del mod">
          <ac:chgData name="Lin Jiahui" userId="b5a296b4-ed07-4cb8-ad93-081918e5dfea" providerId="ADAL" clId="{CBDBF588-0C44-4B2C-94C3-C15333D57343}" dt="2022-07-04T07:14:15.846" v="3022" actId="478"/>
          <ac:picMkLst>
            <pc:docMk/>
            <pc:sldMk cId="2524282992" sldId="2147329354"/>
            <ac:picMk id="24" creationId="{A0AA72DA-9055-4C86-BF27-43C19575B407}"/>
          </ac:picMkLst>
        </pc:picChg>
        <pc:picChg chg="add mod">
          <ac:chgData name="Lin Jiahui" userId="b5a296b4-ed07-4cb8-ad93-081918e5dfea" providerId="ADAL" clId="{CBDBF588-0C44-4B2C-94C3-C15333D57343}" dt="2022-07-04T07:17:09.014" v="3045"/>
          <ac:picMkLst>
            <pc:docMk/>
            <pc:sldMk cId="2524282992" sldId="2147329354"/>
            <ac:picMk id="29" creationId="{75C54E30-7017-40D9-B818-52BA8EA4B8B4}"/>
          </ac:picMkLst>
        </pc:picChg>
        <pc:picChg chg="add mod">
          <ac:chgData name="Lin Jiahui" userId="b5a296b4-ed07-4cb8-ad93-081918e5dfea" providerId="ADAL" clId="{CBDBF588-0C44-4B2C-94C3-C15333D57343}" dt="2022-07-04T07:17:13.216" v="3046"/>
          <ac:picMkLst>
            <pc:docMk/>
            <pc:sldMk cId="2524282992" sldId="2147329354"/>
            <ac:picMk id="30" creationId="{3C6D38F5-BBE9-4852-BF63-F91A8434C2CF}"/>
          </ac:picMkLst>
        </pc:picChg>
        <pc:picChg chg="add mod">
          <ac:chgData name="Lin Jiahui" userId="b5a296b4-ed07-4cb8-ad93-081918e5dfea" providerId="ADAL" clId="{CBDBF588-0C44-4B2C-94C3-C15333D57343}" dt="2022-07-04T07:17:16.521" v="3047"/>
          <ac:picMkLst>
            <pc:docMk/>
            <pc:sldMk cId="2524282992" sldId="2147329354"/>
            <ac:picMk id="31" creationId="{9BD40398-DEC0-4BAA-ABEA-DA7A13258D62}"/>
          </ac:picMkLst>
        </pc:picChg>
        <pc:cxnChg chg="add mod">
          <ac:chgData name="Lin Jiahui" userId="b5a296b4-ed07-4cb8-ad93-081918e5dfea" providerId="ADAL" clId="{CBDBF588-0C44-4B2C-94C3-C15333D57343}" dt="2022-07-04T06:37:21.803" v="2198" actId="1035"/>
          <ac:cxnSpMkLst>
            <pc:docMk/>
            <pc:sldMk cId="2524282992" sldId="2147329354"/>
            <ac:cxnSpMk id="16" creationId="{A503814C-4C0B-4607-9364-25D4CA778282}"/>
          </ac:cxnSpMkLst>
        </pc:cxnChg>
        <pc:cxnChg chg="add mod">
          <ac:chgData name="Lin Jiahui" userId="b5a296b4-ed07-4cb8-ad93-081918e5dfea" providerId="ADAL" clId="{CBDBF588-0C44-4B2C-94C3-C15333D57343}" dt="2022-07-04T06:42:19.806" v="2245" actId="1076"/>
          <ac:cxnSpMkLst>
            <pc:docMk/>
            <pc:sldMk cId="2524282992" sldId="2147329354"/>
            <ac:cxnSpMk id="22" creationId="{00B9765A-93DD-4B04-97EA-626F175BC702}"/>
          </ac:cxnSpMkLst>
        </pc:cxnChg>
        <pc:cxnChg chg="add mod">
          <ac:chgData name="Lin Jiahui" userId="b5a296b4-ed07-4cb8-ad93-081918e5dfea" providerId="ADAL" clId="{CBDBF588-0C44-4B2C-94C3-C15333D57343}" dt="2022-07-04T06:48:10.338" v="2697" actId="1076"/>
          <ac:cxnSpMkLst>
            <pc:docMk/>
            <pc:sldMk cId="2524282992" sldId="2147329354"/>
            <ac:cxnSpMk id="26" creationId="{C357A582-FA87-469E-BAB6-0FAC6037C000}"/>
          </ac:cxnSpMkLst>
        </pc:cxnChg>
      </pc:sldChg>
      <pc:sldChg chg="addSp delSp modSp new add mod">
        <pc:chgData name="Lin Jiahui" userId="b5a296b4-ed07-4cb8-ad93-081918e5dfea" providerId="ADAL" clId="{CBDBF588-0C44-4B2C-94C3-C15333D57343}" dt="2022-07-05T02:51:57.400" v="5082"/>
        <pc:sldMkLst>
          <pc:docMk/>
          <pc:sldMk cId="71815986" sldId="2147329355"/>
        </pc:sldMkLst>
        <pc:spChg chg="mod">
          <ac:chgData name="Lin Jiahui" userId="b5a296b4-ed07-4cb8-ad93-081918e5dfea" providerId="ADAL" clId="{CBDBF588-0C44-4B2C-94C3-C15333D57343}" dt="2022-07-04T06:02:49.545" v="1096" actId="1076"/>
          <ac:spMkLst>
            <pc:docMk/>
            <pc:sldMk cId="71815986" sldId="2147329355"/>
            <ac:spMk id="2" creationId="{C5CA7237-5330-4D4E-88EC-7E66266E864D}"/>
          </ac:spMkLst>
        </pc:spChg>
        <pc:spChg chg="del mod">
          <ac:chgData name="Lin Jiahui" userId="b5a296b4-ed07-4cb8-ad93-081918e5dfea" providerId="ADAL" clId="{CBDBF588-0C44-4B2C-94C3-C15333D57343}" dt="2022-07-04T07:53:22.936" v="3543" actId="478"/>
          <ac:spMkLst>
            <pc:docMk/>
            <pc:sldMk cId="71815986" sldId="2147329355"/>
            <ac:spMk id="3" creationId="{317C63A4-81A8-4C62-A56E-75FC701D9965}"/>
          </ac:spMkLst>
        </pc:spChg>
        <pc:spChg chg="del mod">
          <ac:chgData name="Lin Jiahui" userId="b5a296b4-ed07-4cb8-ad93-081918e5dfea" providerId="ADAL" clId="{CBDBF588-0C44-4B2C-94C3-C15333D57343}" dt="2022-07-04T05:55:20.227" v="816"/>
          <ac:spMkLst>
            <pc:docMk/>
            <pc:sldMk cId="71815986" sldId="2147329355"/>
            <ac:spMk id="5" creationId="{7049C3CF-761D-4361-8E85-ED2A3C3A596B}"/>
          </ac:spMkLst>
        </pc:spChg>
        <pc:spChg chg="add del mod modVis">
          <ac:chgData name="Lin Jiahui" userId="b5a296b4-ed07-4cb8-ad93-081918e5dfea" providerId="ADAL" clId="{CBDBF588-0C44-4B2C-94C3-C15333D57343}" dt="2022-07-04T05:48:04.772" v="457"/>
          <ac:spMkLst>
            <pc:docMk/>
            <pc:sldMk cId="71815986" sldId="2147329355"/>
            <ac:spMk id="7" creationId="{51892B82-07AC-436A-B50F-5F0B0E562763}"/>
          </ac:spMkLst>
        </pc:spChg>
        <pc:spChg chg="add del mod modVis">
          <ac:chgData name="Lin Jiahui" userId="b5a296b4-ed07-4cb8-ad93-081918e5dfea" providerId="ADAL" clId="{CBDBF588-0C44-4B2C-94C3-C15333D57343}" dt="2022-07-04T05:48:05.946" v="503"/>
          <ac:spMkLst>
            <pc:docMk/>
            <pc:sldMk cId="71815986" sldId="2147329355"/>
            <ac:spMk id="8" creationId="{E6967DCF-5D18-4E02-A307-D0330D1F99F7}"/>
          </ac:spMkLst>
        </pc:spChg>
        <pc:spChg chg="add del mod modVis">
          <ac:chgData name="Lin Jiahui" userId="b5a296b4-ed07-4cb8-ad93-081918e5dfea" providerId="ADAL" clId="{CBDBF588-0C44-4B2C-94C3-C15333D57343}" dt="2022-07-04T05:48:07.063" v="552"/>
          <ac:spMkLst>
            <pc:docMk/>
            <pc:sldMk cId="71815986" sldId="2147329355"/>
            <ac:spMk id="9" creationId="{980BDA02-8A61-48BF-A1E6-113C8919D59F}"/>
          </ac:spMkLst>
        </pc:spChg>
        <pc:spChg chg="add del mod modVis">
          <ac:chgData name="Lin Jiahui" userId="b5a296b4-ed07-4cb8-ad93-081918e5dfea" providerId="ADAL" clId="{CBDBF588-0C44-4B2C-94C3-C15333D57343}" dt="2022-07-04T05:48:09.104" v="603"/>
          <ac:spMkLst>
            <pc:docMk/>
            <pc:sldMk cId="71815986" sldId="2147329355"/>
            <ac:spMk id="10" creationId="{912D30E4-92B9-4EA8-8447-A974A06C2E52}"/>
          </ac:spMkLst>
        </pc:spChg>
        <pc:spChg chg="add del mod modVis">
          <ac:chgData name="Lin Jiahui" userId="b5a296b4-ed07-4cb8-ad93-081918e5dfea" providerId="ADAL" clId="{CBDBF588-0C44-4B2C-94C3-C15333D57343}" dt="2022-07-04T05:48:10.591" v="651"/>
          <ac:spMkLst>
            <pc:docMk/>
            <pc:sldMk cId="71815986" sldId="2147329355"/>
            <ac:spMk id="11" creationId="{810B5B47-C3FC-4C78-A431-DE6C296B10DF}"/>
          </ac:spMkLst>
        </pc:spChg>
        <pc:spChg chg="add del mod modVis">
          <ac:chgData name="Lin Jiahui" userId="b5a296b4-ed07-4cb8-ad93-081918e5dfea" providerId="ADAL" clId="{CBDBF588-0C44-4B2C-94C3-C15333D57343}" dt="2022-07-04T05:48:12.026" v="700"/>
          <ac:spMkLst>
            <pc:docMk/>
            <pc:sldMk cId="71815986" sldId="2147329355"/>
            <ac:spMk id="12" creationId="{47535786-58CF-4973-B590-E205FF3456A7}"/>
          </ac:spMkLst>
        </pc:spChg>
        <pc:spChg chg="add del mod modVis">
          <ac:chgData name="Lin Jiahui" userId="b5a296b4-ed07-4cb8-ad93-081918e5dfea" providerId="ADAL" clId="{CBDBF588-0C44-4B2C-94C3-C15333D57343}" dt="2022-07-04T05:48:29.825" v="757"/>
          <ac:spMkLst>
            <pc:docMk/>
            <pc:sldMk cId="71815986" sldId="2147329355"/>
            <ac:spMk id="13" creationId="{A4E7C300-317F-4B12-938C-502FA49F2DD3}"/>
          </ac:spMkLst>
        </pc:spChg>
        <pc:spChg chg="add del mod modVis">
          <ac:chgData name="Lin Jiahui" userId="b5a296b4-ed07-4cb8-ad93-081918e5dfea" providerId="ADAL" clId="{CBDBF588-0C44-4B2C-94C3-C15333D57343}" dt="2022-07-04T05:48:31.589" v="806"/>
          <ac:spMkLst>
            <pc:docMk/>
            <pc:sldMk cId="71815986" sldId="2147329355"/>
            <ac:spMk id="14" creationId="{03E15E7D-DA19-449F-A540-BE4289D07A9D}"/>
          </ac:spMkLst>
        </pc:spChg>
        <pc:spChg chg="add mod">
          <ac:chgData name="Lin Jiahui" userId="b5a296b4-ed07-4cb8-ad93-081918e5dfea" providerId="ADAL" clId="{CBDBF588-0C44-4B2C-94C3-C15333D57343}" dt="2022-07-05T02:51:57.400" v="5082"/>
          <ac:spMkLst>
            <pc:docMk/>
            <pc:sldMk cId="71815986" sldId="2147329355"/>
            <ac:spMk id="17" creationId="{59BE044A-3698-4DD1-ABF2-23CBCF2837B4}"/>
          </ac:spMkLst>
        </pc:spChg>
        <pc:spChg chg="add del mod modVis">
          <ac:chgData name="Lin Jiahui" userId="b5a296b4-ed07-4cb8-ad93-081918e5dfea" providerId="ADAL" clId="{CBDBF588-0C44-4B2C-94C3-C15333D57343}" dt="2022-07-04T05:57:47.766" v="1012" actId="962"/>
          <ac:spMkLst>
            <pc:docMk/>
            <pc:sldMk cId="71815986" sldId="2147329355"/>
            <ac:spMk id="18" creationId="{9CBADCC8-068D-47B4-9C50-4D93CFE5E2BD}"/>
          </ac:spMkLst>
        </pc:spChg>
        <pc:spChg chg="add del mod">
          <ac:chgData name="Lin Jiahui" userId="b5a296b4-ed07-4cb8-ad93-081918e5dfea" providerId="ADAL" clId="{CBDBF588-0C44-4B2C-94C3-C15333D57343}" dt="2022-07-04T05:59:35.072" v="1044" actId="478"/>
          <ac:spMkLst>
            <pc:docMk/>
            <pc:sldMk cId="71815986" sldId="2147329355"/>
            <ac:spMk id="19" creationId="{0B6D863A-CCDA-46A7-BD35-B5223A98001B}"/>
          </ac:spMkLst>
        </pc:spChg>
        <pc:spChg chg="add mod">
          <ac:chgData name="Lin Jiahui" userId="b5a296b4-ed07-4cb8-ad93-081918e5dfea" providerId="ADAL" clId="{CBDBF588-0C44-4B2C-94C3-C15333D57343}" dt="2022-07-04T06:00:46.378" v="1056" actId="207"/>
          <ac:spMkLst>
            <pc:docMk/>
            <pc:sldMk cId="71815986" sldId="2147329355"/>
            <ac:spMk id="20" creationId="{C803AE18-3D7A-4B81-9E5C-C3E080FA3136}"/>
          </ac:spMkLst>
        </pc:spChg>
        <pc:spChg chg="add mod">
          <ac:chgData name="Lin Jiahui" userId="b5a296b4-ed07-4cb8-ad93-081918e5dfea" providerId="ADAL" clId="{CBDBF588-0C44-4B2C-94C3-C15333D57343}" dt="2022-07-04T06:02:09.306" v="1084" actId="14100"/>
          <ac:spMkLst>
            <pc:docMk/>
            <pc:sldMk cId="71815986" sldId="2147329355"/>
            <ac:spMk id="21" creationId="{E203A543-C327-46AE-979E-667004726BCF}"/>
          </ac:spMkLst>
        </pc:spChg>
        <pc:spChg chg="add mod">
          <ac:chgData name="Lin Jiahui" userId="b5a296b4-ed07-4cb8-ad93-081918e5dfea" providerId="ADAL" clId="{CBDBF588-0C44-4B2C-94C3-C15333D57343}" dt="2022-07-04T06:01:35.751" v="1079" actId="1076"/>
          <ac:spMkLst>
            <pc:docMk/>
            <pc:sldMk cId="71815986" sldId="2147329355"/>
            <ac:spMk id="22" creationId="{6D1660C0-E3A0-4F04-9193-A7F00EBF1BCA}"/>
          </ac:spMkLst>
        </pc:spChg>
        <pc:spChg chg="add del mod">
          <ac:chgData name="Lin Jiahui" userId="b5a296b4-ed07-4cb8-ad93-081918e5dfea" providerId="ADAL" clId="{CBDBF588-0C44-4B2C-94C3-C15333D57343}" dt="2022-07-04T06:24:45.452" v="2119" actId="478"/>
          <ac:spMkLst>
            <pc:docMk/>
            <pc:sldMk cId="71815986" sldId="2147329355"/>
            <ac:spMk id="25" creationId="{A209E692-FFA1-48F7-9A09-612E7990AB52}"/>
          </ac:spMkLst>
        </pc:spChg>
        <pc:graphicFrameChg chg="add mod ord modVis">
          <ac:chgData name="Lin Jiahui" userId="b5a296b4-ed07-4cb8-ad93-081918e5dfea" providerId="ADAL" clId="{CBDBF588-0C44-4B2C-94C3-C15333D57343}" dt="2022-07-04T06:02:49.551" v="1098"/>
          <ac:graphicFrameMkLst>
            <pc:docMk/>
            <pc:sldMk cId="71815986" sldId="2147329355"/>
            <ac:graphicFrameMk id="6" creationId="{1DD471D6-5B68-4AE5-B2D3-D449D7BB23CE}"/>
          </ac:graphicFrameMkLst>
        </pc:graphicFrameChg>
        <pc:picChg chg="add mod">
          <ac:chgData name="Lin Jiahui" userId="b5a296b4-ed07-4cb8-ad93-081918e5dfea" providerId="ADAL" clId="{CBDBF588-0C44-4B2C-94C3-C15333D57343}" dt="2022-07-04T07:16:51.280" v="3043"/>
          <ac:picMkLst>
            <pc:docMk/>
            <pc:sldMk cId="71815986" sldId="2147329355"/>
            <ac:picMk id="16" creationId="{9185A21A-DD95-450E-A712-B89F651D71EB}"/>
          </ac:picMkLst>
        </pc:picChg>
        <pc:picChg chg="add mod">
          <ac:chgData name="Lin Jiahui" userId="b5a296b4-ed07-4cb8-ad93-081918e5dfea" providerId="ADAL" clId="{CBDBF588-0C44-4B2C-94C3-C15333D57343}" dt="2022-07-04T06:25:20.781" v="2135" actId="1076"/>
          <ac:picMkLst>
            <pc:docMk/>
            <pc:sldMk cId="71815986" sldId="2147329355"/>
            <ac:picMk id="27" creationId="{8C86FF3D-C176-4A4A-9E37-323970040F7E}"/>
          </ac:picMkLst>
        </pc:picChg>
        <pc:picChg chg="add del mod">
          <ac:chgData name="Lin Jiahui" userId="b5a296b4-ed07-4cb8-ad93-081918e5dfea" providerId="ADAL" clId="{CBDBF588-0C44-4B2C-94C3-C15333D57343}" dt="2022-07-04T05:51:29.453" v="815" actId="478"/>
          <ac:picMkLst>
            <pc:docMk/>
            <pc:sldMk cId="71815986" sldId="2147329355"/>
            <ac:picMk id="1026" creationId="{C76D6E2C-9A25-4A0F-83CF-3E69339D5CD8}"/>
          </ac:picMkLst>
        </pc:picChg>
        <pc:picChg chg="add mod">
          <ac:chgData name="Lin Jiahui" userId="b5a296b4-ed07-4cb8-ad93-081918e5dfea" providerId="ADAL" clId="{CBDBF588-0C44-4B2C-94C3-C15333D57343}" dt="2022-07-04T06:25:23.618" v="2136" actId="1076"/>
          <ac:picMkLst>
            <pc:docMk/>
            <pc:sldMk cId="71815986" sldId="2147329355"/>
            <ac:picMk id="1028" creationId="{AEF614F6-FD76-4755-98A0-D921F006C8D8}"/>
          </ac:picMkLst>
        </pc:picChg>
        <pc:picChg chg="add del mod">
          <ac:chgData name="Lin Jiahui" userId="b5a296b4-ed07-4cb8-ad93-081918e5dfea" providerId="ADAL" clId="{CBDBF588-0C44-4B2C-94C3-C15333D57343}" dt="2022-07-04T06:24:45.452" v="2119" actId="478"/>
          <ac:picMkLst>
            <pc:docMk/>
            <pc:sldMk cId="71815986" sldId="2147329355"/>
            <ac:picMk id="1029" creationId="{C3D5423D-B07A-4D24-85D0-6E13180F0850}"/>
          </ac:picMkLst>
        </pc:picChg>
        <pc:cxnChg chg="add mod">
          <ac:chgData name="Lin Jiahui" userId="b5a296b4-ed07-4cb8-ad93-081918e5dfea" providerId="ADAL" clId="{CBDBF588-0C44-4B2C-94C3-C15333D57343}" dt="2022-07-04T06:03:28.763" v="1107" actId="1076"/>
          <ac:cxnSpMkLst>
            <pc:docMk/>
            <pc:sldMk cId="71815986" sldId="2147329355"/>
            <ac:cxnSpMk id="24" creationId="{D94C7BF8-C41A-40D5-B347-1660ACFFE482}"/>
          </ac:cxnSpMkLst>
        </pc:cxnChg>
      </pc:sldChg>
      <pc:sldChg chg="del">
        <pc:chgData name="Lin Jiahui" userId="b5a296b4-ed07-4cb8-ad93-081918e5dfea" providerId="ADAL" clId="{CBDBF588-0C44-4B2C-94C3-C15333D57343}" dt="2022-07-04T05:39:04.490" v="8" actId="47"/>
        <pc:sldMkLst>
          <pc:docMk/>
          <pc:sldMk cId="987749436" sldId="2147329355"/>
        </pc:sldMkLst>
      </pc:sldChg>
      <pc:sldChg chg="del">
        <pc:chgData name="Lin Jiahui" userId="b5a296b4-ed07-4cb8-ad93-081918e5dfea" providerId="ADAL" clId="{CBDBF588-0C44-4B2C-94C3-C15333D57343}" dt="2022-07-04T05:39:04.490" v="8" actId="47"/>
        <pc:sldMkLst>
          <pc:docMk/>
          <pc:sldMk cId="792247397" sldId="2147329356"/>
        </pc:sldMkLst>
      </pc:sldChg>
      <pc:sldChg chg="del">
        <pc:chgData name="Lin Jiahui" userId="b5a296b4-ed07-4cb8-ad93-081918e5dfea" providerId="ADAL" clId="{CBDBF588-0C44-4B2C-94C3-C15333D57343}" dt="2022-07-04T05:39:04.490" v="8" actId="47"/>
        <pc:sldMkLst>
          <pc:docMk/>
          <pc:sldMk cId="553346268" sldId="2147329357"/>
        </pc:sldMkLst>
      </pc:sldChg>
      <pc:sldChg chg="del">
        <pc:chgData name="Lin Jiahui" userId="b5a296b4-ed07-4cb8-ad93-081918e5dfea" providerId="ADAL" clId="{CBDBF588-0C44-4B2C-94C3-C15333D57343}" dt="2022-07-04T05:38:51.692" v="5" actId="47"/>
        <pc:sldMkLst>
          <pc:docMk/>
          <pc:sldMk cId="1133329578" sldId="2147329358"/>
        </pc:sldMkLst>
      </pc:sldChg>
      <pc:sldChg chg="addSp delSp modSp del mod">
        <pc:chgData name="Lin Jiahui" userId="b5a296b4-ed07-4cb8-ad93-081918e5dfea" providerId="ADAL" clId="{CBDBF588-0C44-4B2C-94C3-C15333D57343}" dt="2022-07-11T03:15:49.246" v="7292"/>
        <pc:sldMkLst>
          <pc:docMk/>
          <pc:sldMk cId="3067407579" sldId="2147329359"/>
        </pc:sldMkLst>
        <pc:spChg chg="del">
          <ac:chgData name="Lin Jiahui" userId="b5a296b4-ed07-4cb8-ad93-081918e5dfea" providerId="ADAL" clId="{CBDBF588-0C44-4B2C-94C3-C15333D57343}" dt="2022-07-11T03:15:48.796" v="7291" actId="478"/>
          <ac:spMkLst>
            <pc:docMk/>
            <pc:sldMk cId="3067407579" sldId="2147329359"/>
            <ac:spMk id="5" creationId="{0CF5D5C1-81D8-487F-8B14-0AB4348E1B56}"/>
          </ac:spMkLst>
        </pc:spChg>
        <pc:spChg chg="del">
          <ac:chgData name="Lin Jiahui" userId="b5a296b4-ed07-4cb8-ad93-081918e5dfea" providerId="ADAL" clId="{CBDBF588-0C44-4B2C-94C3-C15333D57343}" dt="2022-07-11T03:15:48.796" v="7291" actId="478"/>
          <ac:spMkLst>
            <pc:docMk/>
            <pc:sldMk cId="3067407579" sldId="2147329359"/>
            <ac:spMk id="7" creationId="{513DD601-B07A-4944-997E-3FCE41526A79}"/>
          </ac:spMkLst>
        </pc:spChg>
        <pc:spChg chg="add mod">
          <ac:chgData name="Lin Jiahui" userId="b5a296b4-ed07-4cb8-ad93-081918e5dfea" providerId="ADAL" clId="{CBDBF588-0C44-4B2C-94C3-C15333D57343}" dt="2022-07-11T03:15:49.246" v="7292"/>
          <ac:spMkLst>
            <pc:docMk/>
            <pc:sldMk cId="3067407579" sldId="2147329359"/>
            <ac:spMk id="8" creationId="{44F0534A-9F35-4B43-BE25-BEF251BC264D}"/>
          </ac:spMkLst>
        </pc:spChg>
        <pc:spChg chg="add mod">
          <ac:chgData name="Lin Jiahui" userId="b5a296b4-ed07-4cb8-ad93-081918e5dfea" providerId="ADAL" clId="{CBDBF588-0C44-4B2C-94C3-C15333D57343}" dt="2022-07-11T03:15:49.246" v="7292"/>
          <ac:spMkLst>
            <pc:docMk/>
            <pc:sldMk cId="3067407579" sldId="2147329359"/>
            <ac:spMk id="9" creationId="{33FA5317-1611-406A-A39E-F669FA2CDFFD}"/>
          </ac:spMkLst>
        </pc:spChg>
      </pc:sldChg>
      <pc:sldChg chg="del">
        <pc:chgData name="Lin Jiahui" userId="b5a296b4-ed07-4cb8-ad93-081918e5dfea" providerId="ADAL" clId="{CBDBF588-0C44-4B2C-94C3-C15333D57343}" dt="2022-07-04T05:38:49.872" v="4" actId="47"/>
        <pc:sldMkLst>
          <pc:docMk/>
          <pc:sldMk cId="2940475157" sldId="2147329360"/>
        </pc:sldMkLst>
      </pc:sldChg>
      <pc:sldChg chg="del">
        <pc:chgData name="Lin Jiahui" userId="b5a296b4-ed07-4cb8-ad93-081918e5dfea" providerId="ADAL" clId="{CBDBF588-0C44-4B2C-94C3-C15333D57343}" dt="2022-07-04T05:38:37.082" v="1" actId="47"/>
        <pc:sldMkLst>
          <pc:docMk/>
          <pc:sldMk cId="1384091000" sldId="2147329361"/>
        </pc:sldMkLst>
      </pc:sldChg>
      <pc:sldChg chg="del">
        <pc:chgData name="Lin Jiahui" userId="b5a296b4-ed07-4cb8-ad93-081918e5dfea" providerId="ADAL" clId="{CBDBF588-0C44-4B2C-94C3-C15333D57343}" dt="2022-07-04T05:38:38.749" v="2" actId="47"/>
        <pc:sldMkLst>
          <pc:docMk/>
          <pc:sldMk cId="1444060069" sldId="2147329363"/>
        </pc:sldMkLst>
      </pc:sldChg>
      <pc:sldChg chg="addSp delSp modSp del mod">
        <pc:chgData name="Lin Jiahui" userId="b5a296b4-ed07-4cb8-ad93-081918e5dfea" providerId="ADAL" clId="{CBDBF588-0C44-4B2C-94C3-C15333D57343}" dt="2022-07-11T03:15:20.638" v="7290" actId="1036"/>
        <pc:sldMkLst>
          <pc:docMk/>
          <pc:sldMk cId="1217427297" sldId="2147329364"/>
        </pc:sldMkLst>
        <pc:spChg chg="add del mod">
          <ac:chgData name="Lin Jiahui" userId="b5a296b4-ed07-4cb8-ad93-081918e5dfea" providerId="ADAL" clId="{CBDBF588-0C44-4B2C-94C3-C15333D57343}" dt="2022-07-11T03:15:11.208" v="7288" actId="478"/>
          <ac:spMkLst>
            <pc:docMk/>
            <pc:sldMk cId="1217427297" sldId="2147329364"/>
            <ac:spMk id="3" creationId="{35193555-2BFC-4B07-B81B-7591F565EFDE}"/>
          </ac:spMkLst>
        </pc:spChg>
        <pc:spChg chg="del">
          <ac:chgData name="Lin Jiahui" userId="b5a296b4-ed07-4cb8-ad93-081918e5dfea" providerId="ADAL" clId="{CBDBF588-0C44-4B2C-94C3-C15333D57343}" dt="2022-07-04T07:53:09.802" v="3541" actId="478"/>
          <ac:spMkLst>
            <pc:docMk/>
            <pc:sldMk cId="1217427297" sldId="2147329364"/>
            <ac:spMk id="3" creationId="{CB496978-77EE-4190-9162-2D58247455FA}"/>
          </ac:spMkLst>
        </pc:spChg>
        <pc:spChg chg="mod">
          <ac:chgData name="Lin Jiahui" userId="b5a296b4-ed07-4cb8-ad93-081918e5dfea" providerId="ADAL" clId="{CBDBF588-0C44-4B2C-94C3-C15333D57343}" dt="2022-07-04T06:10:18.622" v="1900" actId="404"/>
          <ac:spMkLst>
            <pc:docMk/>
            <pc:sldMk cId="1217427297" sldId="2147329364"/>
            <ac:spMk id="7" creationId="{EB27B67F-57A1-4B84-B63A-75F2B77C244C}"/>
          </ac:spMkLst>
        </pc:spChg>
        <pc:picChg chg="del">
          <ac:chgData name="Lin Jiahui" userId="b5a296b4-ed07-4cb8-ad93-081918e5dfea" providerId="ADAL" clId="{CBDBF588-0C44-4B2C-94C3-C15333D57343}" dt="2022-07-11T03:15:07.913" v="7286" actId="478"/>
          <ac:picMkLst>
            <pc:docMk/>
            <pc:sldMk cId="1217427297" sldId="2147329364"/>
            <ac:picMk id="6" creationId="{E4F4AB25-4753-4F2A-9E1A-4E0FD68B99A2}"/>
          </ac:picMkLst>
        </pc:picChg>
        <pc:picChg chg="add mod">
          <ac:chgData name="Lin Jiahui" userId="b5a296b4-ed07-4cb8-ad93-081918e5dfea" providerId="ADAL" clId="{CBDBF588-0C44-4B2C-94C3-C15333D57343}" dt="2022-07-11T03:15:20.638" v="7290" actId="1036"/>
          <ac:picMkLst>
            <pc:docMk/>
            <pc:sldMk cId="1217427297" sldId="2147329364"/>
            <ac:picMk id="8" creationId="{FEF2402D-D300-44CA-8C71-35C21749A4CE}"/>
          </ac:picMkLst>
        </pc:picChg>
      </pc:sldChg>
      <pc:sldChg chg="new add del">
        <pc:chgData name="Lin Jiahui" userId="b5a296b4-ed07-4cb8-ad93-081918e5dfea" providerId="ADAL" clId="{CBDBF588-0C44-4B2C-94C3-C15333D57343}" dt="2022-07-04T07:12:06.028" v="2969" actId="47"/>
        <pc:sldMkLst>
          <pc:docMk/>
          <pc:sldMk cId="779819019" sldId="2147329365"/>
        </pc:sldMkLst>
      </pc:sldChg>
      <pc:sldChg chg="new add del">
        <pc:chgData name="Lin Jiahui" userId="b5a296b4-ed07-4cb8-ad93-081918e5dfea" providerId="ADAL" clId="{CBDBF588-0C44-4B2C-94C3-C15333D57343}" dt="2022-07-04T06:50:03.540" v="2717" actId="680"/>
        <pc:sldMkLst>
          <pc:docMk/>
          <pc:sldMk cId="1018230142" sldId="2147329366"/>
        </pc:sldMkLst>
      </pc:sldChg>
      <pc:sldChg chg="addSp delSp modSp mod">
        <pc:chgData name="Lin Jiahui" userId="b5a296b4-ed07-4cb8-ad93-081918e5dfea" providerId="ADAL" clId="{CBDBF588-0C44-4B2C-94C3-C15333D57343}" dt="2022-07-04T07:53:35.145" v="3545" actId="478"/>
        <pc:sldMkLst>
          <pc:docMk/>
          <pc:sldMk cId="2915371735" sldId="2147329366"/>
        </pc:sldMkLst>
        <pc:spChg chg="mod">
          <ac:chgData name="Lin Jiahui" userId="b5a296b4-ed07-4cb8-ad93-081918e5dfea" providerId="ADAL" clId="{CBDBF588-0C44-4B2C-94C3-C15333D57343}" dt="2022-07-04T06:50:16.648" v="2744" actId="948"/>
          <ac:spMkLst>
            <pc:docMk/>
            <pc:sldMk cId="2915371735" sldId="2147329366"/>
            <ac:spMk id="2" creationId="{C5CA7237-5330-4D4E-88EC-7E66266E864D}"/>
          </ac:spMkLst>
        </pc:spChg>
        <pc:spChg chg="del">
          <ac:chgData name="Lin Jiahui" userId="b5a296b4-ed07-4cb8-ad93-081918e5dfea" providerId="ADAL" clId="{CBDBF588-0C44-4B2C-94C3-C15333D57343}" dt="2022-07-04T07:53:35.145" v="3545" actId="478"/>
          <ac:spMkLst>
            <pc:docMk/>
            <pc:sldMk cId="2915371735" sldId="2147329366"/>
            <ac:spMk id="3" creationId="{317C63A4-81A8-4C62-A56E-75FC701D9965}"/>
          </ac:spMkLst>
        </pc:spChg>
        <pc:spChg chg="mod">
          <ac:chgData name="Lin Jiahui" userId="b5a296b4-ed07-4cb8-ad93-081918e5dfea" providerId="ADAL" clId="{CBDBF588-0C44-4B2C-94C3-C15333D57343}" dt="2022-07-04T07:11:24.535" v="2968"/>
          <ac:spMkLst>
            <pc:docMk/>
            <pc:sldMk cId="2915371735" sldId="2147329366"/>
            <ac:spMk id="4" creationId="{185AA088-6AC9-4E87-BC2C-05D9427960FF}"/>
          </ac:spMkLst>
        </pc:spChg>
        <pc:spChg chg="add del mod">
          <ac:chgData name="Lin Jiahui" userId="b5a296b4-ed07-4cb8-ad93-081918e5dfea" providerId="ADAL" clId="{CBDBF588-0C44-4B2C-94C3-C15333D57343}" dt="2022-07-04T06:52:28.332" v="2756" actId="478"/>
          <ac:spMkLst>
            <pc:docMk/>
            <pc:sldMk cId="2915371735" sldId="2147329366"/>
            <ac:spMk id="9" creationId="{912F312A-EB58-442C-A3E3-7B668B9FFCD6}"/>
          </ac:spMkLst>
        </pc:spChg>
        <pc:spChg chg="mod">
          <ac:chgData name="Lin Jiahui" userId="b5a296b4-ed07-4cb8-ad93-081918e5dfea" providerId="ADAL" clId="{CBDBF588-0C44-4B2C-94C3-C15333D57343}" dt="2022-07-04T07:10:50.906" v="2888" actId="947"/>
          <ac:spMkLst>
            <pc:docMk/>
            <pc:sldMk cId="2915371735" sldId="2147329366"/>
            <ac:spMk id="17" creationId="{59BE044A-3698-4DD1-ABF2-23CBCF2837B4}"/>
          </ac:spMkLst>
        </pc:spChg>
        <pc:spChg chg="add mod">
          <ac:chgData name="Lin Jiahui" userId="b5a296b4-ed07-4cb8-ad93-081918e5dfea" providerId="ADAL" clId="{CBDBF588-0C44-4B2C-94C3-C15333D57343}" dt="2022-07-04T07:10:00.402" v="2880" actId="1076"/>
          <ac:spMkLst>
            <pc:docMk/>
            <pc:sldMk cId="2915371735" sldId="2147329366"/>
            <ac:spMk id="19" creationId="{860A1214-33D6-43ED-ABB1-514AC8E6714D}"/>
          </ac:spMkLst>
        </pc:spChg>
        <pc:spChg chg="mod">
          <ac:chgData name="Lin Jiahui" userId="b5a296b4-ed07-4cb8-ad93-081918e5dfea" providerId="ADAL" clId="{CBDBF588-0C44-4B2C-94C3-C15333D57343}" dt="2022-07-04T06:50:10.195" v="2718" actId="20577"/>
          <ac:spMkLst>
            <pc:docMk/>
            <pc:sldMk cId="2915371735" sldId="2147329366"/>
            <ac:spMk id="22" creationId="{6D1660C0-E3A0-4F04-9193-A7F00EBF1BCA}"/>
          </ac:spMkLst>
        </pc:spChg>
        <pc:spChg chg="add mod">
          <ac:chgData name="Lin Jiahui" userId="b5a296b4-ed07-4cb8-ad93-081918e5dfea" providerId="ADAL" clId="{CBDBF588-0C44-4B2C-94C3-C15333D57343}" dt="2022-07-04T07:11:04.352" v="2891" actId="947"/>
          <ac:spMkLst>
            <pc:docMk/>
            <pc:sldMk cId="2915371735" sldId="2147329366"/>
            <ac:spMk id="23" creationId="{F4399CF8-3F5C-41B6-9CCB-46F94BD794DD}"/>
          </ac:spMkLst>
        </pc:spChg>
        <pc:graphicFrameChg chg="mod">
          <ac:chgData name="Lin Jiahui" userId="b5a296b4-ed07-4cb8-ad93-081918e5dfea" providerId="ADAL" clId="{CBDBF588-0C44-4B2C-94C3-C15333D57343}" dt="2022-07-04T06:50:16.648" v="2746"/>
          <ac:graphicFrameMkLst>
            <pc:docMk/>
            <pc:sldMk cId="2915371735" sldId="2147329366"/>
            <ac:graphicFrameMk id="6" creationId="{1DD471D6-5B68-4AE5-B2D3-D449D7BB23CE}"/>
          </ac:graphicFrameMkLst>
        </pc:graphicFrameChg>
        <pc:graphicFrameChg chg="add mod modGraphic">
          <ac:chgData name="Lin Jiahui" userId="b5a296b4-ed07-4cb8-ad93-081918e5dfea" providerId="ADAL" clId="{CBDBF588-0C44-4B2C-94C3-C15333D57343}" dt="2022-07-04T07:10:07.607" v="2882" actId="14100"/>
          <ac:graphicFrameMkLst>
            <pc:docMk/>
            <pc:sldMk cId="2915371735" sldId="2147329366"/>
            <ac:graphicFrameMk id="11" creationId="{D4632736-7D42-4028-9DE0-6B4388F29FC1}"/>
          </ac:graphicFrameMkLst>
        </pc:graphicFrameChg>
        <pc:picChg chg="add mod">
          <ac:chgData name="Lin Jiahui" userId="b5a296b4-ed07-4cb8-ad93-081918e5dfea" providerId="ADAL" clId="{CBDBF588-0C44-4B2C-94C3-C15333D57343}" dt="2022-07-04T06:52:36.106" v="2758" actId="1076"/>
          <ac:picMkLst>
            <pc:docMk/>
            <pc:sldMk cId="2915371735" sldId="2147329366"/>
            <ac:picMk id="7" creationId="{203FAFB7-B29C-4E72-A5BF-19BFB17BFA00}"/>
          </ac:picMkLst>
        </pc:picChg>
        <pc:picChg chg="del">
          <ac:chgData name="Lin Jiahui" userId="b5a296b4-ed07-4cb8-ad93-081918e5dfea" providerId="ADAL" clId="{CBDBF588-0C44-4B2C-94C3-C15333D57343}" dt="2022-07-04T06:52:21.332" v="2754" actId="478"/>
          <ac:picMkLst>
            <pc:docMk/>
            <pc:sldMk cId="2915371735" sldId="2147329366"/>
            <ac:picMk id="16" creationId="{9185A21A-DD95-450E-A712-B89F651D71EB}"/>
          </ac:picMkLst>
        </pc:picChg>
      </pc:sldChg>
      <pc:sldChg chg="addSp delSp modSp mod">
        <pc:chgData name="Lin Jiahui" userId="b5a296b4-ed07-4cb8-ad93-081918e5dfea" providerId="ADAL" clId="{CBDBF588-0C44-4B2C-94C3-C15333D57343}" dt="2022-07-05T06:49:19.422" v="6639" actId="1035"/>
        <pc:sldMkLst>
          <pc:docMk/>
          <pc:sldMk cId="3036050764" sldId="2147329367"/>
        </pc:sldMkLst>
        <pc:spChg chg="mod">
          <ac:chgData name="Lin Jiahui" userId="b5a296b4-ed07-4cb8-ad93-081918e5dfea" providerId="ADAL" clId="{CBDBF588-0C44-4B2C-94C3-C15333D57343}" dt="2022-07-04T07:12:21.437" v="3019" actId="948"/>
          <ac:spMkLst>
            <pc:docMk/>
            <pc:sldMk cId="3036050764" sldId="2147329367"/>
            <ac:spMk id="2" creationId="{C5CA7237-5330-4D4E-88EC-7E66266E864D}"/>
          </ac:spMkLst>
        </pc:spChg>
        <pc:spChg chg="del">
          <ac:chgData name="Lin Jiahui" userId="b5a296b4-ed07-4cb8-ad93-081918e5dfea" providerId="ADAL" clId="{CBDBF588-0C44-4B2C-94C3-C15333D57343}" dt="2022-07-04T07:53:39.567" v="3546" actId="478"/>
          <ac:spMkLst>
            <pc:docMk/>
            <pc:sldMk cId="3036050764" sldId="2147329367"/>
            <ac:spMk id="3" creationId="{317C63A4-81A8-4C62-A56E-75FC701D9965}"/>
          </ac:spMkLst>
        </pc:spChg>
        <pc:spChg chg="mod">
          <ac:chgData name="Lin Jiahui" userId="b5a296b4-ed07-4cb8-ad93-081918e5dfea" providerId="ADAL" clId="{CBDBF588-0C44-4B2C-94C3-C15333D57343}" dt="2022-07-05T03:15:58.439" v="5734" actId="20577"/>
          <ac:spMkLst>
            <pc:docMk/>
            <pc:sldMk cId="3036050764" sldId="2147329367"/>
            <ac:spMk id="4" creationId="{185AA088-6AC9-4E87-BC2C-05D9427960FF}"/>
          </ac:spMkLst>
        </pc:spChg>
        <pc:spChg chg="add mod">
          <ac:chgData name="Lin Jiahui" userId="b5a296b4-ed07-4cb8-ad93-081918e5dfea" providerId="ADAL" clId="{CBDBF588-0C44-4B2C-94C3-C15333D57343}" dt="2022-07-05T06:49:07.956" v="6628" actId="255"/>
          <ac:spMkLst>
            <pc:docMk/>
            <pc:sldMk cId="3036050764" sldId="2147329367"/>
            <ac:spMk id="13" creationId="{2CBEA648-A22B-44A1-9B90-03F1352433A1}"/>
          </ac:spMkLst>
        </pc:spChg>
        <pc:spChg chg="mod">
          <ac:chgData name="Lin Jiahui" userId="b5a296b4-ed07-4cb8-ad93-081918e5dfea" providerId="ADAL" clId="{CBDBF588-0C44-4B2C-94C3-C15333D57343}" dt="2022-07-04T08:32:53.222" v="4062" actId="1036"/>
          <ac:spMkLst>
            <pc:docMk/>
            <pc:sldMk cId="3036050764" sldId="2147329367"/>
            <ac:spMk id="17" creationId="{59BE044A-3698-4DD1-ABF2-23CBCF2837B4}"/>
          </ac:spMkLst>
        </pc:spChg>
        <pc:spChg chg="del">
          <ac:chgData name="Lin Jiahui" userId="b5a296b4-ed07-4cb8-ad93-081918e5dfea" providerId="ADAL" clId="{CBDBF588-0C44-4B2C-94C3-C15333D57343}" dt="2022-07-04T07:20:04.720" v="3052" actId="478"/>
          <ac:spMkLst>
            <pc:docMk/>
            <pc:sldMk cId="3036050764" sldId="2147329367"/>
            <ac:spMk id="19" creationId="{860A1214-33D6-43ED-ABB1-514AC8E6714D}"/>
          </ac:spMkLst>
        </pc:spChg>
        <pc:spChg chg="mod">
          <ac:chgData name="Lin Jiahui" userId="b5a296b4-ed07-4cb8-ad93-081918e5dfea" providerId="ADAL" clId="{CBDBF588-0C44-4B2C-94C3-C15333D57343}" dt="2022-07-04T07:12:09.505" v="2971"/>
          <ac:spMkLst>
            <pc:docMk/>
            <pc:sldMk cId="3036050764" sldId="2147329367"/>
            <ac:spMk id="22" creationId="{6D1660C0-E3A0-4F04-9193-A7F00EBF1BCA}"/>
          </ac:spMkLst>
        </pc:spChg>
        <pc:spChg chg="del">
          <ac:chgData name="Lin Jiahui" userId="b5a296b4-ed07-4cb8-ad93-081918e5dfea" providerId="ADAL" clId="{CBDBF588-0C44-4B2C-94C3-C15333D57343}" dt="2022-07-04T07:20:04.720" v="3052" actId="478"/>
          <ac:spMkLst>
            <pc:docMk/>
            <pc:sldMk cId="3036050764" sldId="2147329367"/>
            <ac:spMk id="23" creationId="{F4399CF8-3F5C-41B6-9CCB-46F94BD794DD}"/>
          </ac:spMkLst>
        </pc:spChg>
        <pc:spChg chg="add del mod">
          <ac:chgData name="Lin Jiahui" userId="b5a296b4-ed07-4cb8-ad93-081918e5dfea" providerId="ADAL" clId="{CBDBF588-0C44-4B2C-94C3-C15333D57343}" dt="2022-07-04T07:27:49.250" v="3215" actId="478"/>
          <ac:spMkLst>
            <pc:docMk/>
            <pc:sldMk cId="3036050764" sldId="2147329367"/>
            <ac:spMk id="25" creationId="{02DFB27D-A325-44BB-8A68-97A9EC087897}"/>
          </ac:spMkLst>
        </pc:spChg>
        <pc:spChg chg="add mod">
          <ac:chgData name="Lin Jiahui" userId="b5a296b4-ed07-4cb8-ad93-081918e5dfea" providerId="ADAL" clId="{CBDBF588-0C44-4B2C-94C3-C15333D57343}" dt="2022-07-05T06:49:19.422" v="6639" actId="1035"/>
          <ac:spMkLst>
            <pc:docMk/>
            <pc:sldMk cId="3036050764" sldId="2147329367"/>
            <ac:spMk id="26" creationId="{26F17C06-BDE4-4B3C-9155-15BEEBCFDFCF}"/>
          </ac:spMkLst>
        </pc:spChg>
        <pc:spChg chg="add mod">
          <ac:chgData name="Lin Jiahui" userId="b5a296b4-ed07-4cb8-ad93-081918e5dfea" providerId="ADAL" clId="{CBDBF588-0C44-4B2C-94C3-C15333D57343}" dt="2022-07-05T06:49:19.422" v="6639" actId="1035"/>
          <ac:spMkLst>
            <pc:docMk/>
            <pc:sldMk cId="3036050764" sldId="2147329367"/>
            <ac:spMk id="28" creationId="{4B2ACAF1-8859-4B04-889C-9EF0B7464D8C}"/>
          </ac:spMkLst>
        </pc:spChg>
        <pc:spChg chg="add mod">
          <ac:chgData name="Lin Jiahui" userId="b5a296b4-ed07-4cb8-ad93-081918e5dfea" providerId="ADAL" clId="{CBDBF588-0C44-4B2C-94C3-C15333D57343}" dt="2022-07-04T08:33:12.987" v="4072" actId="1036"/>
          <ac:spMkLst>
            <pc:docMk/>
            <pc:sldMk cId="3036050764" sldId="2147329367"/>
            <ac:spMk id="29" creationId="{A13284F2-0A4B-4907-9155-D76E34340BDF}"/>
          </ac:spMkLst>
        </pc:spChg>
        <pc:spChg chg="add mod">
          <ac:chgData name="Lin Jiahui" userId="b5a296b4-ed07-4cb8-ad93-081918e5dfea" providerId="ADAL" clId="{CBDBF588-0C44-4B2C-94C3-C15333D57343}" dt="2022-07-05T05:39:41.954" v="6457" actId="207"/>
          <ac:spMkLst>
            <pc:docMk/>
            <pc:sldMk cId="3036050764" sldId="2147329367"/>
            <ac:spMk id="30" creationId="{AC9E333A-3D34-4AF1-A085-B94E3E142757}"/>
          </ac:spMkLst>
        </pc:spChg>
        <pc:graphicFrameChg chg="mod">
          <ac:chgData name="Lin Jiahui" userId="b5a296b4-ed07-4cb8-ad93-081918e5dfea" providerId="ADAL" clId="{CBDBF588-0C44-4B2C-94C3-C15333D57343}" dt="2022-07-04T07:12:21.452" v="3021"/>
          <ac:graphicFrameMkLst>
            <pc:docMk/>
            <pc:sldMk cId="3036050764" sldId="2147329367"/>
            <ac:graphicFrameMk id="6" creationId="{1DD471D6-5B68-4AE5-B2D3-D449D7BB23CE}"/>
          </ac:graphicFrameMkLst>
        </pc:graphicFrameChg>
        <pc:graphicFrameChg chg="del">
          <ac:chgData name="Lin Jiahui" userId="b5a296b4-ed07-4cb8-ad93-081918e5dfea" providerId="ADAL" clId="{CBDBF588-0C44-4B2C-94C3-C15333D57343}" dt="2022-07-04T07:20:07.527" v="3053" actId="478"/>
          <ac:graphicFrameMkLst>
            <pc:docMk/>
            <pc:sldMk cId="3036050764" sldId="2147329367"/>
            <ac:graphicFrameMk id="11" creationId="{D4632736-7D42-4028-9DE0-6B4388F29FC1}"/>
          </ac:graphicFrameMkLst>
        </pc:graphicFrameChg>
        <pc:picChg chg="del mod">
          <ac:chgData name="Lin Jiahui" userId="b5a296b4-ed07-4cb8-ad93-081918e5dfea" providerId="ADAL" clId="{CBDBF588-0C44-4B2C-94C3-C15333D57343}" dt="2022-07-04T07:17:35.733" v="3050" actId="478"/>
          <ac:picMkLst>
            <pc:docMk/>
            <pc:sldMk cId="3036050764" sldId="2147329367"/>
            <ac:picMk id="7" creationId="{203FAFB7-B29C-4E72-A5BF-19BFB17BFA00}"/>
          </ac:picMkLst>
        </pc:picChg>
        <pc:picChg chg="add del mod">
          <ac:chgData name="Lin Jiahui" userId="b5a296b4-ed07-4cb8-ad93-081918e5dfea" providerId="ADAL" clId="{CBDBF588-0C44-4B2C-94C3-C15333D57343}" dt="2022-07-04T07:16:07.734" v="3036"/>
          <ac:picMkLst>
            <pc:docMk/>
            <pc:sldMk cId="3036050764" sldId="2147329367"/>
            <ac:picMk id="8" creationId="{1E5A5C16-2EFE-4D65-8C1B-7FA5EDA3F26B}"/>
          </ac:picMkLst>
        </pc:picChg>
        <pc:picChg chg="add mod">
          <ac:chgData name="Lin Jiahui" userId="b5a296b4-ed07-4cb8-ad93-081918e5dfea" providerId="ADAL" clId="{CBDBF588-0C44-4B2C-94C3-C15333D57343}" dt="2022-07-04T07:55:29.488" v="3548" actId="1076"/>
          <ac:picMkLst>
            <pc:docMk/>
            <pc:sldMk cId="3036050764" sldId="2147329367"/>
            <ac:picMk id="10" creationId="{A0E8D636-13D4-4281-82B0-FCDAF524D1F9}"/>
          </ac:picMkLst>
        </pc:picChg>
      </pc:sldChg>
      <pc:sldChg chg="addSp delSp modSp new add mod">
        <pc:chgData name="Lin Jiahui" userId="b5a296b4-ed07-4cb8-ad93-081918e5dfea" providerId="ADAL" clId="{CBDBF588-0C44-4B2C-94C3-C15333D57343}" dt="2022-07-11T03:22:18" v="7458" actId="1038"/>
        <pc:sldMkLst>
          <pc:docMk/>
          <pc:sldMk cId="3290575415" sldId="2147329368"/>
        </pc:sldMkLst>
        <pc:spChg chg="del">
          <ac:chgData name="Lin Jiahui" userId="b5a296b4-ed07-4cb8-ad93-081918e5dfea" providerId="ADAL" clId="{CBDBF588-0C44-4B2C-94C3-C15333D57343}" dt="2022-07-04T08:38:22.022" v="4176" actId="478"/>
          <ac:spMkLst>
            <pc:docMk/>
            <pc:sldMk cId="3290575415" sldId="2147329368"/>
            <ac:spMk id="2" creationId="{5E9CF339-6095-423F-993B-4151E222EC87}"/>
          </ac:spMkLst>
        </pc:spChg>
        <pc:spChg chg="del">
          <ac:chgData name="Lin Jiahui" userId="b5a296b4-ed07-4cb8-ad93-081918e5dfea" providerId="ADAL" clId="{CBDBF588-0C44-4B2C-94C3-C15333D57343}" dt="2022-07-04T08:38:17.698" v="4175" actId="478"/>
          <ac:spMkLst>
            <pc:docMk/>
            <pc:sldMk cId="3290575415" sldId="2147329368"/>
            <ac:spMk id="3" creationId="{584030AE-56CD-4210-85BC-817F9EC1D8FE}"/>
          </ac:spMkLst>
        </pc:spChg>
        <pc:spChg chg="del">
          <ac:chgData name="Lin Jiahui" userId="b5a296b4-ed07-4cb8-ad93-081918e5dfea" providerId="ADAL" clId="{CBDBF588-0C44-4B2C-94C3-C15333D57343}" dt="2022-07-04T08:38:22.022" v="4176" actId="478"/>
          <ac:spMkLst>
            <pc:docMk/>
            <pc:sldMk cId="3290575415" sldId="2147329368"/>
            <ac:spMk id="5" creationId="{AFB7C5DE-D3F0-4CF4-AB2B-CB0528041F16}"/>
          </ac:spMkLst>
        </pc:spChg>
        <pc:spChg chg="add mod">
          <ac:chgData name="Lin Jiahui" userId="b5a296b4-ed07-4cb8-ad93-081918e5dfea" providerId="ADAL" clId="{CBDBF588-0C44-4B2C-94C3-C15333D57343}" dt="2022-07-04T08:45:22.138" v="4219" actId="948"/>
          <ac:spMkLst>
            <pc:docMk/>
            <pc:sldMk cId="3290575415" sldId="2147329368"/>
            <ac:spMk id="7" creationId="{8D2EB48F-7968-4DF8-AC10-8FEC2FA46230}"/>
          </ac:spMkLst>
        </pc:spChg>
        <pc:spChg chg="add mod">
          <ac:chgData name="Lin Jiahui" userId="b5a296b4-ed07-4cb8-ad93-081918e5dfea" providerId="ADAL" clId="{CBDBF588-0C44-4B2C-94C3-C15333D57343}" dt="2022-07-04T08:38:25.025" v="4192"/>
          <ac:spMkLst>
            <pc:docMk/>
            <pc:sldMk cId="3290575415" sldId="2147329368"/>
            <ac:spMk id="8" creationId="{5671BB65-8E57-4770-80FE-FDD4D4783B62}"/>
          </ac:spMkLst>
        </pc:spChg>
        <pc:spChg chg="add mod">
          <ac:chgData name="Lin Jiahui" userId="b5a296b4-ed07-4cb8-ad93-081918e5dfea" providerId="ADAL" clId="{CBDBF588-0C44-4B2C-94C3-C15333D57343}" dt="2022-07-04T08:38:25.025" v="4192"/>
          <ac:spMkLst>
            <pc:docMk/>
            <pc:sldMk cId="3290575415" sldId="2147329368"/>
            <ac:spMk id="9" creationId="{74A448FB-DB9A-4A97-8057-E4925829C736}"/>
          </ac:spMkLst>
        </pc:spChg>
        <pc:spChg chg="add mod">
          <ac:chgData name="Lin Jiahui" userId="b5a296b4-ed07-4cb8-ad93-081918e5dfea" providerId="ADAL" clId="{CBDBF588-0C44-4B2C-94C3-C15333D57343}" dt="2022-07-04T08:45:24.846" v="4223"/>
          <ac:spMkLst>
            <pc:docMk/>
            <pc:sldMk cId="3290575415" sldId="2147329368"/>
            <ac:spMk id="11" creationId="{F5A7AE83-7E69-49AD-8A45-8C784273BD5B}"/>
          </ac:spMkLst>
        </pc:spChg>
        <pc:spChg chg="add mod">
          <ac:chgData name="Lin Jiahui" userId="b5a296b4-ed07-4cb8-ad93-081918e5dfea" providerId="ADAL" clId="{CBDBF588-0C44-4B2C-94C3-C15333D57343}" dt="2022-07-11T03:22:18" v="7458" actId="1038"/>
          <ac:spMkLst>
            <pc:docMk/>
            <pc:sldMk cId="3290575415" sldId="2147329368"/>
            <ac:spMk id="17" creationId="{EB7E1227-7D16-4769-B741-55906385F703}"/>
          </ac:spMkLst>
        </pc:spChg>
        <pc:spChg chg="add mod">
          <ac:chgData name="Lin Jiahui" userId="b5a296b4-ed07-4cb8-ad93-081918e5dfea" providerId="ADAL" clId="{CBDBF588-0C44-4B2C-94C3-C15333D57343}" dt="2022-07-11T03:22:10.776" v="7453" actId="1076"/>
          <ac:spMkLst>
            <pc:docMk/>
            <pc:sldMk cId="3290575415" sldId="2147329368"/>
            <ac:spMk id="18" creationId="{AB790E36-75DA-43AC-9D2F-F7E7DBB70374}"/>
          </ac:spMkLst>
        </pc:spChg>
        <pc:spChg chg="add mod">
          <ac:chgData name="Lin Jiahui" userId="b5a296b4-ed07-4cb8-ad93-081918e5dfea" providerId="ADAL" clId="{CBDBF588-0C44-4B2C-94C3-C15333D57343}" dt="2022-07-11T03:22:10.776" v="7453" actId="1076"/>
          <ac:spMkLst>
            <pc:docMk/>
            <pc:sldMk cId="3290575415" sldId="2147329368"/>
            <ac:spMk id="20" creationId="{7D12F129-AE51-4C64-B97C-200EF638D93D}"/>
          </ac:spMkLst>
        </pc:spChg>
        <pc:spChg chg="add mod">
          <ac:chgData name="Lin Jiahui" userId="b5a296b4-ed07-4cb8-ad93-081918e5dfea" providerId="ADAL" clId="{CBDBF588-0C44-4B2C-94C3-C15333D57343}" dt="2022-07-11T03:22:00.410" v="7452" actId="1076"/>
          <ac:spMkLst>
            <pc:docMk/>
            <pc:sldMk cId="3290575415" sldId="2147329368"/>
            <ac:spMk id="21" creationId="{5B6B814C-C4B9-4C5C-B5FD-7DD594DD0D81}"/>
          </ac:spMkLst>
        </pc:spChg>
        <pc:spChg chg="add mod">
          <ac:chgData name="Lin Jiahui" userId="b5a296b4-ed07-4cb8-ad93-081918e5dfea" providerId="ADAL" clId="{CBDBF588-0C44-4B2C-94C3-C15333D57343}" dt="2022-07-06T01:33:34.377" v="6986" actId="1076"/>
          <ac:spMkLst>
            <pc:docMk/>
            <pc:sldMk cId="3290575415" sldId="2147329368"/>
            <ac:spMk id="22" creationId="{9432E625-0209-42B0-9683-3F2CEBF176ED}"/>
          </ac:spMkLst>
        </pc:spChg>
        <pc:spChg chg="add mod">
          <ac:chgData name="Lin Jiahui" userId="b5a296b4-ed07-4cb8-ad93-081918e5dfea" providerId="ADAL" clId="{CBDBF588-0C44-4B2C-94C3-C15333D57343}" dt="2022-07-06T01:33:19.497" v="6983" actId="14100"/>
          <ac:spMkLst>
            <pc:docMk/>
            <pc:sldMk cId="3290575415" sldId="2147329368"/>
            <ac:spMk id="23" creationId="{67843815-8C84-4450-AD01-6DE863FFF510}"/>
          </ac:spMkLst>
        </pc:spChg>
        <pc:graphicFrameChg chg="add mod modGraphic">
          <ac:chgData name="Lin Jiahui" userId="b5a296b4-ed07-4cb8-ad93-081918e5dfea" providerId="ADAL" clId="{CBDBF588-0C44-4B2C-94C3-C15333D57343}" dt="2022-07-11T03:16:31.589" v="7299" actId="20577"/>
          <ac:graphicFrameMkLst>
            <pc:docMk/>
            <pc:sldMk cId="3290575415" sldId="2147329368"/>
            <ac:graphicFrameMk id="2" creationId="{978EBDC5-04B3-4D4A-A854-A3EDACAC5BB4}"/>
          </ac:graphicFrameMkLst>
        </pc:graphicFrameChg>
        <pc:graphicFrameChg chg="add del mod">
          <ac:chgData name="Lin Jiahui" userId="b5a296b4-ed07-4cb8-ad93-081918e5dfea" providerId="ADAL" clId="{CBDBF588-0C44-4B2C-94C3-C15333D57343}" dt="2022-07-11T03:17:06.429" v="7302"/>
          <ac:graphicFrameMkLst>
            <pc:docMk/>
            <pc:sldMk cId="3290575415" sldId="2147329368"/>
            <ac:graphicFrameMk id="3" creationId="{04CDE000-D220-426E-AE6C-A54C657F0CFE}"/>
          </ac:graphicFrameMkLst>
        </pc:graphicFrameChg>
        <pc:graphicFrameChg chg="add del mod modGraphic">
          <ac:chgData name="Lin Jiahui" userId="b5a296b4-ed07-4cb8-ad93-081918e5dfea" providerId="ADAL" clId="{CBDBF588-0C44-4B2C-94C3-C15333D57343}" dt="2022-07-11T03:21:19.046" v="7442" actId="478"/>
          <ac:graphicFrameMkLst>
            <pc:docMk/>
            <pc:sldMk cId="3290575415" sldId="2147329368"/>
            <ac:graphicFrameMk id="5" creationId="{AAB35B0F-64F5-4DD5-A5DD-5F142CEDE4FF}"/>
          </ac:graphicFrameMkLst>
        </pc:graphicFrameChg>
        <pc:graphicFrameChg chg="add mod ord modVis">
          <ac:chgData name="Lin Jiahui" userId="b5a296b4-ed07-4cb8-ad93-081918e5dfea" providerId="ADAL" clId="{CBDBF588-0C44-4B2C-94C3-C15333D57343}" dt="2022-07-04T08:45:22.138" v="4221"/>
          <ac:graphicFrameMkLst>
            <pc:docMk/>
            <pc:sldMk cId="3290575415" sldId="2147329368"/>
            <ac:graphicFrameMk id="6" creationId="{357DD5B4-6599-4093-BF0A-5F6D2A8BF27B}"/>
          </ac:graphicFrameMkLst>
        </pc:graphicFrameChg>
        <pc:graphicFrameChg chg="add mod modGraphic">
          <ac:chgData name="Lin Jiahui" userId="b5a296b4-ed07-4cb8-ad93-081918e5dfea" providerId="ADAL" clId="{CBDBF588-0C44-4B2C-94C3-C15333D57343}" dt="2022-07-11T03:22:10.776" v="7453" actId="1076"/>
          <ac:graphicFrameMkLst>
            <pc:docMk/>
            <pc:sldMk cId="3290575415" sldId="2147329368"/>
            <ac:graphicFrameMk id="19" creationId="{F804E96F-8A1E-4610-A91C-AF9A95504952}"/>
          </ac:graphicFrameMkLst>
        </pc:graphicFrameChg>
        <pc:graphicFrameChg chg="add mod modGraphic">
          <ac:chgData name="Lin Jiahui" userId="b5a296b4-ed07-4cb8-ad93-081918e5dfea" providerId="ADAL" clId="{CBDBF588-0C44-4B2C-94C3-C15333D57343}" dt="2022-07-11T03:22:00.410" v="7452" actId="1076"/>
          <ac:graphicFrameMkLst>
            <pc:docMk/>
            <pc:sldMk cId="3290575415" sldId="2147329368"/>
            <ac:graphicFrameMk id="24" creationId="{B68A47A0-0C6B-458A-9EC7-B4562EE12437}"/>
          </ac:graphicFrameMkLst>
        </pc:graphicFrameChg>
        <pc:picChg chg="add mod">
          <ac:chgData name="Lin Jiahui" userId="b5a296b4-ed07-4cb8-ad93-081918e5dfea" providerId="ADAL" clId="{CBDBF588-0C44-4B2C-94C3-C15333D57343}" dt="2022-07-04T08:38:25.025" v="4192"/>
          <ac:picMkLst>
            <pc:docMk/>
            <pc:sldMk cId="3290575415" sldId="2147329368"/>
            <ac:picMk id="10" creationId="{9E3EB723-A798-4DC6-AB8B-80B4E349B921}"/>
          </ac:picMkLst>
        </pc:picChg>
        <pc:picChg chg="add mod">
          <ac:chgData name="Lin Jiahui" userId="b5a296b4-ed07-4cb8-ad93-081918e5dfea" providerId="ADAL" clId="{CBDBF588-0C44-4B2C-94C3-C15333D57343}" dt="2022-07-04T08:38:25.025" v="4192"/>
          <ac:picMkLst>
            <pc:docMk/>
            <pc:sldMk cId="3290575415" sldId="2147329368"/>
            <ac:picMk id="13" creationId="{9F191960-5BA8-41C6-9803-774A0B9CE458}"/>
          </ac:picMkLst>
        </pc:picChg>
        <pc:picChg chg="add mod">
          <ac:chgData name="Lin Jiahui" userId="b5a296b4-ed07-4cb8-ad93-081918e5dfea" providerId="ADAL" clId="{CBDBF588-0C44-4B2C-94C3-C15333D57343}" dt="2022-07-06T01:33:02.488" v="6979" actId="1076"/>
          <ac:picMkLst>
            <pc:docMk/>
            <pc:sldMk cId="3290575415" sldId="2147329368"/>
            <ac:picMk id="15" creationId="{44CF4A18-7E44-46F2-87C3-E47AC01FB5C1}"/>
          </ac:picMkLst>
        </pc:picChg>
        <pc:picChg chg="add del mod">
          <ac:chgData name="Lin Jiahui" userId="b5a296b4-ed07-4cb8-ad93-081918e5dfea" providerId="ADAL" clId="{CBDBF588-0C44-4B2C-94C3-C15333D57343}" dt="2022-07-04T08:47:00.041" v="4232" actId="478"/>
          <ac:picMkLst>
            <pc:docMk/>
            <pc:sldMk cId="3290575415" sldId="2147329368"/>
            <ac:picMk id="16" creationId="{5DD3B6B6-D364-44CF-BC13-B62C0AF40FC6}"/>
          </ac:picMkLst>
        </pc:picChg>
        <pc:cxnChg chg="add mod">
          <ac:chgData name="Lin Jiahui" userId="b5a296b4-ed07-4cb8-ad93-081918e5dfea" providerId="ADAL" clId="{CBDBF588-0C44-4B2C-94C3-C15333D57343}" dt="2022-07-04T08:38:25.025" v="4192"/>
          <ac:cxnSpMkLst>
            <pc:docMk/>
            <pc:sldMk cId="3290575415" sldId="2147329368"/>
            <ac:cxnSpMk id="12" creationId="{302DF968-0514-4158-B4F6-88426A07BE62}"/>
          </ac:cxnSpMkLst>
        </pc:cxnChg>
      </pc:sldChg>
      <pc:sldChg chg="addSp delSp modSp new add mod">
        <pc:chgData name="Lin Jiahui" userId="b5a296b4-ed07-4cb8-ad93-081918e5dfea" providerId="ADAL" clId="{CBDBF588-0C44-4B2C-94C3-C15333D57343}" dt="2022-07-05T07:39:55.591" v="6743" actId="1076"/>
        <pc:sldMkLst>
          <pc:docMk/>
          <pc:sldMk cId="4293538043" sldId="2147329369"/>
        </pc:sldMkLst>
        <pc:spChg chg="del">
          <ac:chgData name="Lin Jiahui" userId="b5a296b4-ed07-4cb8-ad93-081918e5dfea" providerId="ADAL" clId="{CBDBF588-0C44-4B2C-94C3-C15333D57343}" dt="2022-07-04T08:54:26.825" v="4591" actId="478"/>
          <ac:spMkLst>
            <pc:docMk/>
            <pc:sldMk cId="4293538043" sldId="2147329369"/>
            <ac:spMk id="2" creationId="{30AFD123-C9D5-4E6B-94EB-4BC43BBEBC17}"/>
          </ac:spMkLst>
        </pc:spChg>
        <pc:spChg chg="del">
          <ac:chgData name="Lin Jiahui" userId="b5a296b4-ed07-4cb8-ad93-081918e5dfea" providerId="ADAL" clId="{CBDBF588-0C44-4B2C-94C3-C15333D57343}" dt="2022-07-04T08:54:34.763" v="4608" actId="478"/>
          <ac:spMkLst>
            <pc:docMk/>
            <pc:sldMk cId="4293538043" sldId="2147329369"/>
            <ac:spMk id="3" creationId="{3589C929-A17D-4F29-A4DB-28316529CFF2}"/>
          </ac:spMkLst>
        </pc:spChg>
        <pc:spChg chg="del">
          <ac:chgData name="Lin Jiahui" userId="b5a296b4-ed07-4cb8-ad93-081918e5dfea" providerId="ADAL" clId="{CBDBF588-0C44-4B2C-94C3-C15333D57343}" dt="2022-07-04T08:54:24.573" v="4590" actId="478"/>
          <ac:spMkLst>
            <pc:docMk/>
            <pc:sldMk cId="4293538043" sldId="2147329369"/>
            <ac:spMk id="5" creationId="{56952D18-9517-4F16-9F74-5B9AD2274ACC}"/>
          </ac:spMkLst>
        </pc:spChg>
        <pc:spChg chg="add mod">
          <ac:chgData name="Lin Jiahui" userId="b5a296b4-ed07-4cb8-ad93-081918e5dfea" providerId="ADAL" clId="{CBDBF588-0C44-4B2C-94C3-C15333D57343}" dt="2022-07-04T08:54:43.127" v="4633" actId="948"/>
          <ac:spMkLst>
            <pc:docMk/>
            <pc:sldMk cId="4293538043" sldId="2147329369"/>
            <ac:spMk id="7" creationId="{956D8630-5575-47B6-A797-5060FD875E07}"/>
          </ac:spMkLst>
        </pc:spChg>
        <pc:spChg chg="add mod">
          <ac:chgData name="Lin Jiahui" userId="b5a296b4-ed07-4cb8-ad93-081918e5dfea" providerId="ADAL" clId="{CBDBF588-0C44-4B2C-94C3-C15333D57343}" dt="2022-07-04T08:54:29.248" v="4607"/>
          <ac:spMkLst>
            <pc:docMk/>
            <pc:sldMk cId="4293538043" sldId="2147329369"/>
            <ac:spMk id="8" creationId="{B79227EC-A00D-4295-A132-C36C1CD35AD3}"/>
          </ac:spMkLst>
        </pc:spChg>
        <pc:spChg chg="add mod">
          <ac:chgData name="Lin Jiahui" userId="b5a296b4-ed07-4cb8-ad93-081918e5dfea" providerId="ADAL" clId="{CBDBF588-0C44-4B2C-94C3-C15333D57343}" dt="2022-07-04T08:54:29.248" v="4607"/>
          <ac:spMkLst>
            <pc:docMk/>
            <pc:sldMk cId="4293538043" sldId="2147329369"/>
            <ac:spMk id="9" creationId="{9FA45F02-103C-48AE-8A33-FE78CB9476B6}"/>
          </ac:spMkLst>
        </pc:spChg>
        <pc:spChg chg="add mod">
          <ac:chgData name="Lin Jiahui" userId="b5a296b4-ed07-4cb8-ad93-081918e5dfea" providerId="ADAL" clId="{CBDBF588-0C44-4B2C-94C3-C15333D57343}" dt="2022-07-04T08:54:38.346" v="4610"/>
          <ac:spMkLst>
            <pc:docMk/>
            <pc:sldMk cId="4293538043" sldId="2147329369"/>
            <ac:spMk id="11" creationId="{52562AA3-EBAF-45B0-89CD-6F98E0BC8B08}"/>
          </ac:spMkLst>
        </pc:spChg>
        <pc:spChg chg="add mod">
          <ac:chgData name="Lin Jiahui" userId="b5a296b4-ed07-4cb8-ad93-081918e5dfea" providerId="ADAL" clId="{CBDBF588-0C44-4B2C-94C3-C15333D57343}" dt="2022-07-04T09:10:00.964" v="4807" actId="14100"/>
          <ac:spMkLst>
            <pc:docMk/>
            <pc:sldMk cId="4293538043" sldId="2147329369"/>
            <ac:spMk id="15" creationId="{DB166119-7A8F-43BF-AC3F-28CBF41768AC}"/>
          </ac:spMkLst>
        </pc:spChg>
        <pc:spChg chg="add mod">
          <ac:chgData name="Lin Jiahui" userId="b5a296b4-ed07-4cb8-ad93-081918e5dfea" providerId="ADAL" clId="{CBDBF588-0C44-4B2C-94C3-C15333D57343}" dt="2022-07-05T06:52:03.704" v="6718" actId="113"/>
          <ac:spMkLst>
            <pc:docMk/>
            <pc:sldMk cId="4293538043" sldId="2147329369"/>
            <ac:spMk id="21" creationId="{11914D9A-0D3A-4F8D-BE30-43864F9B6E65}"/>
          </ac:spMkLst>
        </pc:spChg>
        <pc:graphicFrameChg chg="add mod ord modVis">
          <ac:chgData name="Lin Jiahui" userId="b5a296b4-ed07-4cb8-ad93-081918e5dfea" providerId="ADAL" clId="{CBDBF588-0C44-4B2C-94C3-C15333D57343}" dt="2022-07-04T08:54:43.127" v="4635"/>
          <ac:graphicFrameMkLst>
            <pc:docMk/>
            <pc:sldMk cId="4293538043" sldId="2147329369"/>
            <ac:graphicFrameMk id="6" creationId="{882DBFC1-2357-4D27-B43B-C59018AE01E4}"/>
          </ac:graphicFrameMkLst>
        </pc:graphicFrameChg>
        <pc:picChg chg="add mod">
          <ac:chgData name="Lin Jiahui" userId="b5a296b4-ed07-4cb8-ad93-081918e5dfea" providerId="ADAL" clId="{CBDBF588-0C44-4B2C-94C3-C15333D57343}" dt="2022-07-04T09:09:54.154" v="4805" actId="1076"/>
          <ac:picMkLst>
            <pc:docMk/>
            <pc:sldMk cId="4293538043" sldId="2147329369"/>
            <ac:picMk id="3" creationId="{0CB3BF56-B9CB-4A9B-8FB9-7B82349FE857}"/>
          </ac:picMkLst>
        </pc:picChg>
        <pc:picChg chg="add mod">
          <ac:chgData name="Lin Jiahui" userId="b5a296b4-ed07-4cb8-ad93-081918e5dfea" providerId="ADAL" clId="{CBDBF588-0C44-4B2C-94C3-C15333D57343}" dt="2022-07-04T09:10:37.778" v="4830" actId="1076"/>
          <ac:picMkLst>
            <pc:docMk/>
            <pc:sldMk cId="4293538043" sldId="2147329369"/>
            <ac:picMk id="10" creationId="{3CD48891-165F-4999-AE74-6AECC4D777BA}"/>
          </ac:picMkLst>
        </pc:picChg>
        <pc:picChg chg="add mod">
          <ac:chgData name="Lin Jiahui" userId="b5a296b4-ed07-4cb8-ad93-081918e5dfea" providerId="ADAL" clId="{CBDBF588-0C44-4B2C-94C3-C15333D57343}" dt="2022-07-04T09:10:37.778" v="4830" actId="1076"/>
          <ac:picMkLst>
            <pc:docMk/>
            <pc:sldMk cId="4293538043" sldId="2147329369"/>
            <ac:picMk id="13" creationId="{337C1364-2760-45D0-B27A-AF74CECB892A}"/>
          </ac:picMkLst>
        </pc:picChg>
        <pc:picChg chg="add del mod">
          <ac:chgData name="Lin Jiahui" userId="b5a296b4-ed07-4cb8-ad93-081918e5dfea" providerId="ADAL" clId="{CBDBF588-0C44-4B2C-94C3-C15333D57343}" dt="2022-07-04T09:08:16.754" v="4787" actId="478"/>
          <ac:picMkLst>
            <pc:docMk/>
            <pc:sldMk cId="4293538043" sldId="2147329369"/>
            <ac:picMk id="14" creationId="{612ACCA5-9074-464A-B0BA-C9A0E9659E3C}"/>
          </ac:picMkLst>
        </pc:picChg>
        <pc:picChg chg="add del mod">
          <ac:chgData name="Lin Jiahui" userId="b5a296b4-ed07-4cb8-ad93-081918e5dfea" providerId="ADAL" clId="{CBDBF588-0C44-4B2C-94C3-C15333D57343}" dt="2022-07-04T08:58:53.194" v="4685" actId="478"/>
          <ac:picMkLst>
            <pc:docMk/>
            <pc:sldMk cId="4293538043" sldId="2147329369"/>
            <ac:picMk id="17" creationId="{06D33EC0-CA89-4077-AD4F-2B8D0F0624F1}"/>
          </ac:picMkLst>
        </pc:picChg>
        <pc:picChg chg="add del mod">
          <ac:chgData name="Lin Jiahui" userId="b5a296b4-ed07-4cb8-ad93-081918e5dfea" providerId="ADAL" clId="{CBDBF588-0C44-4B2C-94C3-C15333D57343}" dt="2022-07-04T09:09:35.088" v="4797" actId="478"/>
          <ac:picMkLst>
            <pc:docMk/>
            <pc:sldMk cId="4293538043" sldId="2147329369"/>
            <ac:picMk id="17" creationId="{549E6E68-8CAD-4459-BD07-D4DB8D35776F}"/>
          </ac:picMkLst>
        </pc:picChg>
        <pc:picChg chg="add mod">
          <ac:chgData name="Lin Jiahui" userId="b5a296b4-ed07-4cb8-ad93-081918e5dfea" providerId="ADAL" clId="{CBDBF588-0C44-4B2C-94C3-C15333D57343}" dt="2022-07-05T07:39:55.591" v="6743" actId="1076"/>
          <ac:picMkLst>
            <pc:docMk/>
            <pc:sldMk cId="4293538043" sldId="2147329369"/>
            <ac:picMk id="19" creationId="{93E86F30-5AB5-402E-8DD6-096446CFA84F}"/>
          </ac:picMkLst>
        </pc:picChg>
        <pc:picChg chg="add del mod">
          <ac:chgData name="Lin Jiahui" userId="b5a296b4-ed07-4cb8-ad93-081918e5dfea" providerId="ADAL" clId="{CBDBF588-0C44-4B2C-94C3-C15333D57343}" dt="2022-07-04T09:09:33.398" v="4795" actId="478"/>
          <ac:picMkLst>
            <pc:docMk/>
            <pc:sldMk cId="4293538043" sldId="2147329369"/>
            <ac:picMk id="20" creationId="{F5336283-8422-4B0F-B2A2-AB3B8ADBC0D3}"/>
          </ac:picMkLst>
        </pc:picChg>
        <pc:picChg chg="add del mod">
          <ac:chgData name="Lin Jiahui" userId="b5a296b4-ed07-4cb8-ad93-081918e5dfea" providerId="ADAL" clId="{CBDBF588-0C44-4B2C-94C3-C15333D57343}" dt="2022-07-04T09:02:13.967" v="4744" actId="478"/>
          <ac:picMkLst>
            <pc:docMk/>
            <pc:sldMk cId="4293538043" sldId="2147329369"/>
            <ac:picMk id="22" creationId="{03025993-5BFD-4BE7-80A0-5539E1C26694}"/>
          </ac:picMkLst>
        </pc:picChg>
        <pc:picChg chg="add del mod">
          <ac:chgData name="Lin Jiahui" userId="b5a296b4-ed07-4cb8-ad93-081918e5dfea" providerId="ADAL" clId="{CBDBF588-0C44-4B2C-94C3-C15333D57343}" dt="2022-07-04T09:02:30.831" v="4747" actId="478"/>
          <ac:picMkLst>
            <pc:docMk/>
            <pc:sldMk cId="4293538043" sldId="2147329369"/>
            <ac:picMk id="23" creationId="{E8A0B6ED-12F9-4CD9-91D3-7D0C2E4A9A01}"/>
          </ac:picMkLst>
        </pc:picChg>
        <pc:picChg chg="add del mod">
          <ac:chgData name="Lin Jiahui" userId="b5a296b4-ed07-4cb8-ad93-081918e5dfea" providerId="ADAL" clId="{CBDBF588-0C44-4B2C-94C3-C15333D57343}" dt="2022-07-04T09:07:29.004" v="4776" actId="478"/>
          <ac:picMkLst>
            <pc:docMk/>
            <pc:sldMk cId="4293538043" sldId="2147329369"/>
            <ac:picMk id="25" creationId="{3E8B8C90-5BD6-4C1B-A5D7-B48C7EAD67A3}"/>
          </ac:picMkLst>
        </pc:picChg>
        <pc:picChg chg="add del mod">
          <ac:chgData name="Lin Jiahui" userId="b5a296b4-ed07-4cb8-ad93-081918e5dfea" providerId="ADAL" clId="{CBDBF588-0C44-4B2C-94C3-C15333D57343}" dt="2022-07-04T09:05:04.877" v="4754" actId="478"/>
          <ac:picMkLst>
            <pc:docMk/>
            <pc:sldMk cId="4293538043" sldId="2147329369"/>
            <ac:picMk id="27" creationId="{F6017569-83EB-459E-B77F-215276E13401}"/>
          </ac:picMkLst>
        </pc:picChg>
        <pc:cxnChg chg="add mod">
          <ac:chgData name="Lin Jiahui" userId="b5a296b4-ed07-4cb8-ad93-081918e5dfea" providerId="ADAL" clId="{CBDBF588-0C44-4B2C-94C3-C15333D57343}" dt="2022-07-04T08:54:29.248" v="4607"/>
          <ac:cxnSpMkLst>
            <pc:docMk/>
            <pc:sldMk cId="4293538043" sldId="2147329369"/>
            <ac:cxnSpMk id="12" creationId="{87B7FAEE-85F3-4E3D-B1B6-8F212965ADB4}"/>
          </ac:cxnSpMkLst>
        </pc:cxnChg>
      </pc:sldChg>
      <pc:sldChg chg="addSp delSp modSp new add mod">
        <pc:chgData name="Lin Jiahui" userId="b5a296b4-ed07-4cb8-ad93-081918e5dfea" providerId="ADAL" clId="{CBDBF588-0C44-4B2C-94C3-C15333D57343}" dt="2022-07-11T03:12:43.878" v="7137" actId="20577"/>
        <pc:sldMkLst>
          <pc:docMk/>
          <pc:sldMk cId="1961375317" sldId="2147329370"/>
        </pc:sldMkLst>
        <pc:spChg chg="del">
          <ac:chgData name="Lin Jiahui" userId="b5a296b4-ed07-4cb8-ad93-081918e5dfea" providerId="ADAL" clId="{CBDBF588-0C44-4B2C-94C3-C15333D57343}" dt="2022-07-04T09:10:29.551" v="4814" actId="478"/>
          <ac:spMkLst>
            <pc:docMk/>
            <pc:sldMk cId="1961375317" sldId="2147329370"/>
            <ac:spMk id="2" creationId="{D017161D-9D11-4735-95A2-6A13C0E7CBE7}"/>
          </ac:spMkLst>
        </pc:spChg>
        <pc:spChg chg="del">
          <ac:chgData name="Lin Jiahui" userId="b5a296b4-ed07-4cb8-ad93-081918e5dfea" providerId="ADAL" clId="{CBDBF588-0C44-4B2C-94C3-C15333D57343}" dt="2022-07-04T09:10:23.381" v="4812" actId="478"/>
          <ac:spMkLst>
            <pc:docMk/>
            <pc:sldMk cId="1961375317" sldId="2147329370"/>
            <ac:spMk id="3" creationId="{224CB0A1-06B7-4F12-AE56-860BBF18E6D9}"/>
          </ac:spMkLst>
        </pc:spChg>
        <pc:spChg chg="del">
          <ac:chgData name="Lin Jiahui" userId="b5a296b4-ed07-4cb8-ad93-081918e5dfea" providerId="ADAL" clId="{CBDBF588-0C44-4B2C-94C3-C15333D57343}" dt="2022-07-04T09:10:27.091" v="4813" actId="478"/>
          <ac:spMkLst>
            <pc:docMk/>
            <pc:sldMk cId="1961375317" sldId="2147329370"/>
            <ac:spMk id="5" creationId="{60AD39C3-4F8D-41D4-8EE1-E3A6D1CF9B45}"/>
          </ac:spMkLst>
        </pc:spChg>
        <pc:spChg chg="add mod">
          <ac:chgData name="Lin Jiahui" userId="b5a296b4-ed07-4cb8-ad93-081918e5dfea" providerId="ADAL" clId="{CBDBF588-0C44-4B2C-94C3-C15333D57343}" dt="2022-07-04T09:11:02.413" v="4866" actId="948"/>
          <ac:spMkLst>
            <pc:docMk/>
            <pc:sldMk cId="1961375317" sldId="2147329370"/>
            <ac:spMk id="7" creationId="{413B1C45-2C6B-425C-A077-F3C3971FE507}"/>
          </ac:spMkLst>
        </pc:spChg>
        <pc:spChg chg="add mod">
          <ac:chgData name="Lin Jiahui" userId="b5a296b4-ed07-4cb8-ad93-081918e5dfea" providerId="ADAL" clId="{CBDBF588-0C44-4B2C-94C3-C15333D57343}" dt="2022-07-04T09:10:51.907" v="4831"/>
          <ac:spMkLst>
            <pc:docMk/>
            <pc:sldMk cId="1961375317" sldId="2147329370"/>
            <ac:spMk id="8" creationId="{DF54D681-412E-4AE2-9337-673FC4702272}"/>
          </ac:spMkLst>
        </pc:spChg>
        <pc:spChg chg="add mod">
          <ac:chgData name="Lin Jiahui" userId="b5a296b4-ed07-4cb8-ad93-081918e5dfea" providerId="ADAL" clId="{CBDBF588-0C44-4B2C-94C3-C15333D57343}" dt="2022-07-04T09:10:51.907" v="4831"/>
          <ac:spMkLst>
            <pc:docMk/>
            <pc:sldMk cId="1961375317" sldId="2147329370"/>
            <ac:spMk id="9" creationId="{992AD4E8-5D8A-4AE9-AF1B-9ABBA008B5EA}"/>
          </ac:spMkLst>
        </pc:spChg>
        <pc:spChg chg="add mod">
          <ac:chgData name="Lin Jiahui" userId="b5a296b4-ed07-4cb8-ad93-081918e5dfea" providerId="ADAL" clId="{CBDBF588-0C44-4B2C-94C3-C15333D57343}" dt="2022-07-04T09:10:54.991" v="4833"/>
          <ac:spMkLst>
            <pc:docMk/>
            <pc:sldMk cId="1961375317" sldId="2147329370"/>
            <ac:spMk id="11" creationId="{5390B9F4-95D2-4580-B390-CC61EE2ED9D4}"/>
          </ac:spMkLst>
        </pc:spChg>
        <pc:spChg chg="add mod">
          <ac:chgData name="Lin Jiahui" userId="b5a296b4-ed07-4cb8-ad93-081918e5dfea" providerId="ADAL" clId="{CBDBF588-0C44-4B2C-94C3-C15333D57343}" dt="2022-07-06T01:25:59.678" v="6971" actId="20577"/>
          <ac:spMkLst>
            <pc:docMk/>
            <pc:sldMk cId="1961375317" sldId="2147329370"/>
            <ac:spMk id="17" creationId="{1C8DE713-F875-4A64-81EB-B7D377FA26AD}"/>
          </ac:spMkLst>
        </pc:spChg>
        <pc:spChg chg="add mod">
          <ac:chgData name="Lin Jiahui" userId="b5a296b4-ed07-4cb8-ad93-081918e5dfea" providerId="ADAL" clId="{CBDBF588-0C44-4B2C-94C3-C15333D57343}" dt="2022-07-11T03:12:43.878" v="7137" actId="20577"/>
          <ac:spMkLst>
            <pc:docMk/>
            <pc:sldMk cId="1961375317" sldId="2147329370"/>
            <ac:spMk id="18" creationId="{DBF35ECF-19E3-4AFE-BFBD-CD34ED7432BF}"/>
          </ac:spMkLst>
        </pc:spChg>
        <pc:spChg chg="add mod">
          <ac:chgData name="Lin Jiahui" userId="b5a296b4-ed07-4cb8-ad93-081918e5dfea" providerId="ADAL" clId="{CBDBF588-0C44-4B2C-94C3-C15333D57343}" dt="2022-07-05T07:39:44.969" v="6742" actId="1076"/>
          <ac:spMkLst>
            <pc:docMk/>
            <pc:sldMk cId="1961375317" sldId="2147329370"/>
            <ac:spMk id="19" creationId="{C6CEA25B-9150-4EF0-9B72-8DB70DC2935A}"/>
          </ac:spMkLst>
        </pc:spChg>
        <pc:graphicFrameChg chg="add mod ord modVis">
          <ac:chgData name="Lin Jiahui" userId="b5a296b4-ed07-4cb8-ad93-081918e5dfea" providerId="ADAL" clId="{CBDBF588-0C44-4B2C-94C3-C15333D57343}" dt="2022-07-04T09:11:02.413" v="4868"/>
          <ac:graphicFrameMkLst>
            <pc:docMk/>
            <pc:sldMk cId="1961375317" sldId="2147329370"/>
            <ac:graphicFrameMk id="6" creationId="{D7D9FDAD-DC6E-454D-92CD-D3A0E635E96D}"/>
          </ac:graphicFrameMkLst>
        </pc:graphicFrameChg>
        <pc:picChg chg="add mod">
          <ac:chgData name="Lin Jiahui" userId="b5a296b4-ed07-4cb8-ad93-081918e5dfea" providerId="ADAL" clId="{CBDBF588-0C44-4B2C-94C3-C15333D57343}" dt="2022-07-04T09:10:51.907" v="4831"/>
          <ac:picMkLst>
            <pc:docMk/>
            <pc:sldMk cId="1961375317" sldId="2147329370"/>
            <ac:picMk id="10" creationId="{436D4993-358B-439F-9D17-BCBC06F62913}"/>
          </ac:picMkLst>
        </pc:picChg>
        <pc:picChg chg="add mod">
          <ac:chgData name="Lin Jiahui" userId="b5a296b4-ed07-4cb8-ad93-081918e5dfea" providerId="ADAL" clId="{CBDBF588-0C44-4B2C-94C3-C15333D57343}" dt="2022-07-04T09:10:51.907" v="4831"/>
          <ac:picMkLst>
            <pc:docMk/>
            <pc:sldMk cId="1961375317" sldId="2147329370"/>
            <ac:picMk id="13" creationId="{293A4D5D-D999-42E8-8AA5-FEB0A826CEC6}"/>
          </ac:picMkLst>
        </pc:picChg>
        <pc:picChg chg="add del mod">
          <ac:chgData name="Lin Jiahui" userId="b5a296b4-ed07-4cb8-ad93-081918e5dfea" providerId="ADAL" clId="{CBDBF588-0C44-4B2C-94C3-C15333D57343}" dt="2022-07-04T09:12:06.785" v="4874" actId="478"/>
          <ac:picMkLst>
            <pc:docMk/>
            <pc:sldMk cId="1961375317" sldId="2147329370"/>
            <ac:picMk id="14" creationId="{C6961BE8-99A7-4379-B877-30E3DE5FA39D}"/>
          </ac:picMkLst>
        </pc:picChg>
        <pc:picChg chg="add mod">
          <ac:chgData name="Lin Jiahui" userId="b5a296b4-ed07-4cb8-ad93-081918e5dfea" providerId="ADAL" clId="{CBDBF588-0C44-4B2C-94C3-C15333D57343}" dt="2022-07-05T07:39:44.969" v="6742" actId="1076"/>
          <ac:picMkLst>
            <pc:docMk/>
            <pc:sldMk cId="1961375317" sldId="2147329370"/>
            <ac:picMk id="16" creationId="{3FEF15F2-9D73-4646-9FFA-8A2AE56B4998}"/>
          </ac:picMkLst>
        </pc:picChg>
        <pc:cxnChg chg="add mod">
          <ac:chgData name="Lin Jiahui" userId="b5a296b4-ed07-4cb8-ad93-081918e5dfea" providerId="ADAL" clId="{CBDBF588-0C44-4B2C-94C3-C15333D57343}" dt="2022-07-04T09:10:51.907" v="4831"/>
          <ac:cxnSpMkLst>
            <pc:docMk/>
            <pc:sldMk cId="1961375317" sldId="2147329370"/>
            <ac:cxnSpMk id="12" creationId="{C9323EEF-BEF5-4805-B605-5F3DD4A05E27}"/>
          </ac:cxnSpMkLst>
        </pc:cxnChg>
      </pc:sldChg>
      <pc:sldChg chg="addSp delSp modSp mod">
        <pc:chgData name="Lin Jiahui" userId="b5a296b4-ed07-4cb8-ad93-081918e5dfea" providerId="ADAL" clId="{CBDBF588-0C44-4B2C-94C3-C15333D57343}" dt="2022-07-11T03:14:43.708" v="7284" actId="1037"/>
        <pc:sldMkLst>
          <pc:docMk/>
          <pc:sldMk cId="2202978351" sldId="2147329371"/>
        </pc:sldMkLst>
        <pc:spChg chg="del">
          <ac:chgData name="Lin Jiahui" userId="b5a296b4-ed07-4cb8-ad93-081918e5dfea" providerId="ADAL" clId="{CBDBF588-0C44-4B2C-94C3-C15333D57343}" dt="2022-07-11T03:14:26.504" v="7139" actId="478"/>
          <ac:spMkLst>
            <pc:docMk/>
            <pc:sldMk cId="2202978351" sldId="2147329371"/>
            <ac:spMk id="12" creationId="{E8CE5B2B-68D7-40C3-BC38-BA128D61D78C}"/>
          </ac:spMkLst>
        </pc:spChg>
        <pc:spChg chg="del">
          <ac:chgData name="Lin Jiahui" userId="b5a296b4-ed07-4cb8-ad93-081918e5dfea" providerId="ADAL" clId="{CBDBF588-0C44-4B2C-94C3-C15333D57343}" dt="2022-07-11T03:14:26.504" v="7139" actId="478"/>
          <ac:spMkLst>
            <pc:docMk/>
            <pc:sldMk cId="2202978351" sldId="2147329371"/>
            <ac:spMk id="13" creationId="{129A235F-D4C5-484C-94F8-A3E94EB81413}"/>
          </ac:spMkLst>
        </pc:spChg>
        <pc:spChg chg="add mod">
          <ac:chgData name="Lin Jiahui" userId="b5a296b4-ed07-4cb8-ad93-081918e5dfea" providerId="ADAL" clId="{CBDBF588-0C44-4B2C-94C3-C15333D57343}" dt="2022-07-11T03:14:43.708" v="7284" actId="1037"/>
          <ac:spMkLst>
            <pc:docMk/>
            <pc:sldMk cId="2202978351" sldId="2147329371"/>
            <ac:spMk id="14" creationId="{596AEF15-2FA0-41D4-B786-A5CF8FDF03B5}"/>
          </ac:spMkLst>
        </pc:spChg>
        <pc:spChg chg="add mod">
          <ac:chgData name="Lin Jiahui" userId="b5a296b4-ed07-4cb8-ad93-081918e5dfea" providerId="ADAL" clId="{CBDBF588-0C44-4B2C-94C3-C15333D57343}" dt="2022-07-11T03:14:43.708" v="7284" actId="1037"/>
          <ac:spMkLst>
            <pc:docMk/>
            <pc:sldMk cId="2202978351" sldId="2147329371"/>
            <ac:spMk id="15" creationId="{EDC8B61D-C466-4048-97F8-477DF55FF23D}"/>
          </ac:spMkLst>
        </pc:spChg>
        <pc:picChg chg="mod">
          <ac:chgData name="Lin Jiahui" userId="b5a296b4-ed07-4cb8-ad93-081918e5dfea" providerId="ADAL" clId="{CBDBF588-0C44-4B2C-94C3-C15333D57343}" dt="2022-07-11T03:14:30.351" v="7141" actId="1076"/>
          <ac:picMkLst>
            <pc:docMk/>
            <pc:sldMk cId="2202978351" sldId="2147329371"/>
            <ac:picMk id="5" creationId="{68BBB2D4-6668-4E73-B5AE-A7767B4F0E12}"/>
          </ac:picMkLst>
        </pc:picChg>
      </pc:sldChg>
      <pc:sldMasterChg chg="addSp modSp mod">
        <pc:chgData name="Lin Jiahui" userId="b5a296b4-ed07-4cb8-ad93-081918e5dfea" providerId="ADAL" clId="{CBDBF588-0C44-4B2C-94C3-C15333D57343}" dt="2022-07-04T05:48:04.158" v="401"/>
        <pc:sldMasterMkLst>
          <pc:docMk/>
          <pc:sldMasterMk cId="1656820196" sldId="2147483673"/>
        </pc:sldMasterMkLst>
        <pc:spChg chg="mod">
          <ac:chgData name="Lin Jiahui" userId="b5a296b4-ed07-4cb8-ad93-081918e5dfea" providerId="ADAL" clId="{CBDBF588-0C44-4B2C-94C3-C15333D57343}" dt="2022-07-04T05:48:04.107" v="385" actId="948"/>
          <ac:spMkLst>
            <pc:docMk/>
            <pc:sldMasterMk cId="1656820196" sldId="2147483673"/>
            <ac:spMk id="2" creationId="{8C61D29F-3B63-0C41-9005-5CD01A30BBB7}"/>
          </ac:spMkLst>
        </pc:spChg>
        <pc:graphicFrameChg chg="add mod ord modVis">
          <ac:chgData name="Lin Jiahui" userId="b5a296b4-ed07-4cb8-ad93-081918e5dfea" providerId="ADAL" clId="{CBDBF588-0C44-4B2C-94C3-C15333D57343}" dt="2022-07-04T05:48:04.158" v="401"/>
          <ac:graphicFrameMkLst>
            <pc:docMk/>
            <pc:sldMasterMk cId="1656820196" sldId="2147483673"/>
            <ac:graphicFrameMk id="4" creationId="{F351B0E7-635C-4737-9C81-D671C2F30CA8}"/>
          </ac:graphicFrameMkLst>
        </pc:graphicFrame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6345954-E038-EB48-BAE1-7800B1B1B4AD}"/>
              </a:ext>
            </a:extLst>
          </p:cNvPr>
          <p:cNvSpPr txBox="1"/>
          <p:nvPr/>
        </p:nvSpPr>
        <p:spPr bwMode="gray">
          <a:xfrm>
            <a:off x="5958296" y="8649920"/>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r"/>
            <a:fld id="{6C5AF65D-6854-49AF-ABC5-48B5BA0EA842}" type="slidenum">
              <a:rPr lang="en-US" sz="800" smtClean="0">
                <a:solidFill>
                  <a:schemeClr val="tx1"/>
                </a:solidFill>
              </a:rPr>
              <a:pPr lvl="0" algn="r"/>
              <a:t>‹#›</a:t>
            </a:fld>
            <a:endParaRPr lang="en-US" sz="800">
              <a:solidFill>
                <a:schemeClr val="tx1"/>
              </a:solidFill>
            </a:endParaRPr>
          </a:p>
        </p:txBody>
      </p:sp>
      <p:grpSp>
        <p:nvGrpSpPr>
          <p:cNvPr id="7" name="Group 6">
            <a:extLst>
              <a:ext uri="{FF2B5EF4-FFF2-40B4-BE49-F238E27FC236}">
                <a16:creationId xmlns:a16="http://schemas.microsoft.com/office/drawing/2014/main" id="{C6C145FE-891C-7F4C-8551-8BEF0684425C}"/>
              </a:ext>
            </a:extLst>
          </p:cNvPr>
          <p:cNvGrpSpPr/>
          <p:nvPr/>
        </p:nvGrpSpPr>
        <p:grpSpPr>
          <a:xfrm>
            <a:off x="474212" y="8594095"/>
            <a:ext cx="1579562" cy="304766"/>
            <a:chOff x="769938" y="419101"/>
            <a:chExt cx="12193588" cy="2352675"/>
          </a:xfrm>
          <a:solidFill>
            <a:schemeClr val="accent1"/>
          </a:solidFill>
        </p:grpSpPr>
        <p:sp>
          <p:nvSpPr>
            <p:cNvPr id="8" name="Freeform 7">
              <a:extLst>
                <a:ext uri="{FF2B5EF4-FFF2-40B4-BE49-F238E27FC236}">
                  <a16:creationId xmlns:a16="http://schemas.microsoft.com/office/drawing/2014/main" id="{9CEBD0BC-BBA2-674C-B24A-D85873547721}"/>
                </a:ext>
              </a:extLst>
            </p:cNvPr>
            <p:cNvSpPr>
              <a:spLocks/>
            </p:cNvSpPr>
            <p:nvPr userDrawn="1"/>
          </p:nvSpPr>
          <p:spPr bwMode="auto">
            <a:xfrm>
              <a:off x="1946276" y="419101"/>
              <a:ext cx="858838" cy="889000"/>
            </a:xfrm>
            <a:custGeom>
              <a:avLst/>
              <a:gdLst>
                <a:gd name="T0" fmla="*/ 452 w 452"/>
                <a:gd name="T1" fmla="*/ 467 h 467"/>
                <a:gd name="T2" fmla="*/ 452 w 452"/>
                <a:gd name="T3" fmla="*/ 0 h 467"/>
                <a:gd name="T4" fmla="*/ 0 w 452"/>
                <a:gd name="T5" fmla="*/ 0 h 467"/>
                <a:gd name="T6" fmla="*/ 452 w 452"/>
                <a:gd name="T7" fmla="*/ 467 h 467"/>
              </a:gdLst>
              <a:ahLst/>
              <a:cxnLst>
                <a:cxn ang="0">
                  <a:pos x="T0" y="T1"/>
                </a:cxn>
                <a:cxn ang="0">
                  <a:pos x="T2" y="T3"/>
                </a:cxn>
                <a:cxn ang="0">
                  <a:pos x="T4" y="T5"/>
                </a:cxn>
                <a:cxn ang="0">
                  <a:pos x="T6" y="T7"/>
                </a:cxn>
              </a:cxnLst>
              <a:rect l="0" t="0" r="r" b="b"/>
              <a:pathLst>
                <a:path w="452" h="467">
                  <a:moveTo>
                    <a:pt x="452" y="467"/>
                  </a:moveTo>
                  <a:cubicBezTo>
                    <a:pt x="452" y="0"/>
                    <a:pt x="452" y="0"/>
                    <a:pt x="452" y="0"/>
                  </a:cubicBezTo>
                  <a:cubicBezTo>
                    <a:pt x="0" y="0"/>
                    <a:pt x="0" y="0"/>
                    <a:pt x="0" y="0"/>
                  </a:cubicBezTo>
                  <a:cubicBezTo>
                    <a:pt x="233" y="37"/>
                    <a:pt x="416" y="227"/>
                    <a:pt x="452"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9" name="Freeform 8">
              <a:extLst>
                <a:ext uri="{FF2B5EF4-FFF2-40B4-BE49-F238E27FC236}">
                  <a16:creationId xmlns:a16="http://schemas.microsoft.com/office/drawing/2014/main" id="{733BBFF1-A897-8E47-B2CD-AA53A0078E3D}"/>
                </a:ext>
              </a:extLst>
            </p:cNvPr>
            <p:cNvSpPr>
              <a:spLocks/>
            </p:cNvSpPr>
            <p:nvPr userDrawn="1"/>
          </p:nvSpPr>
          <p:spPr bwMode="auto">
            <a:xfrm>
              <a:off x="769938" y="419101"/>
              <a:ext cx="858838" cy="889000"/>
            </a:xfrm>
            <a:custGeom>
              <a:avLst/>
              <a:gdLst>
                <a:gd name="T0" fmla="*/ 452 w 452"/>
                <a:gd name="T1" fmla="*/ 0 h 467"/>
                <a:gd name="T2" fmla="*/ 0 w 452"/>
                <a:gd name="T3" fmla="*/ 0 h 467"/>
                <a:gd name="T4" fmla="*/ 0 w 452"/>
                <a:gd name="T5" fmla="*/ 467 h 467"/>
                <a:gd name="T6" fmla="*/ 452 w 452"/>
                <a:gd name="T7" fmla="*/ 0 h 467"/>
              </a:gdLst>
              <a:ahLst/>
              <a:cxnLst>
                <a:cxn ang="0">
                  <a:pos x="T0" y="T1"/>
                </a:cxn>
                <a:cxn ang="0">
                  <a:pos x="T2" y="T3"/>
                </a:cxn>
                <a:cxn ang="0">
                  <a:pos x="T4" y="T5"/>
                </a:cxn>
                <a:cxn ang="0">
                  <a:pos x="T6" y="T7"/>
                </a:cxn>
              </a:cxnLst>
              <a:rect l="0" t="0" r="r" b="b"/>
              <a:pathLst>
                <a:path w="452" h="467">
                  <a:moveTo>
                    <a:pt x="452" y="0"/>
                  </a:moveTo>
                  <a:cubicBezTo>
                    <a:pt x="0" y="0"/>
                    <a:pt x="0" y="0"/>
                    <a:pt x="0" y="0"/>
                  </a:cubicBezTo>
                  <a:cubicBezTo>
                    <a:pt x="0" y="467"/>
                    <a:pt x="0" y="467"/>
                    <a:pt x="0" y="467"/>
                  </a:cubicBezTo>
                  <a:cubicBezTo>
                    <a:pt x="36" y="227"/>
                    <a:pt x="220" y="37"/>
                    <a:pt x="452"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0" name="Freeform 9">
              <a:extLst>
                <a:ext uri="{FF2B5EF4-FFF2-40B4-BE49-F238E27FC236}">
                  <a16:creationId xmlns:a16="http://schemas.microsoft.com/office/drawing/2014/main" id="{00FE36E1-1AD1-4049-8E04-7516C85A1780}"/>
                </a:ext>
              </a:extLst>
            </p:cNvPr>
            <p:cNvSpPr>
              <a:spLocks/>
            </p:cNvSpPr>
            <p:nvPr userDrawn="1"/>
          </p:nvSpPr>
          <p:spPr bwMode="auto">
            <a:xfrm>
              <a:off x="769938" y="1635126"/>
              <a:ext cx="858838" cy="890588"/>
            </a:xfrm>
            <a:custGeom>
              <a:avLst/>
              <a:gdLst>
                <a:gd name="T0" fmla="*/ 0 w 452"/>
                <a:gd name="T1" fmla="*/ 0 h 467"/>
                <a:gd name="T2" fmla="*/ 0 w 452"/>
                <a:gd name="T3" fmla="*/ 467 h 467"/>
                <a:gd name="T4" fmla="*/ 452 w 452"/>
                <a:gd name="T5" fmla="*/ 467 h 467"/>
                <a:gd name="T6" fmla="*/ 0 w 452"/>
                <a:gd name="T7" fmla="*/ 0 h 467"/>
              </a:gdLst>
              <a:ahLst/>
              <a:cxnLst>
                <a:cxn ang="0">
                  <a:pos x="T0" y="T1"/>
                </a:cxn>
                <a:cxn ang="0">
                  <a:pos x="T2" y="T3"/>
                </a:cxn>
                <a:cxn ang="0">
                  <a:pos x="T4" y="T5"/>
                </a:cxn>
                <a:cxn ang="0">
                  <a:pos x="T6" y="T7"/>
                </a:cxn>
              </a:cxnLst>
              <a:rect l="0" t="0" r="r" b="b"/>
              <a:pathLst>
                <a:path w="452" h="467">
                  <a:moveTo>
                    <a:pt x="0" y="0"/>
                  </a:moveTo>
                  <a:cubicBezTo>
                    <a:pt x="0" y="467"/>
                    <a:pt x="0" y="467"/>
                    <a:pt x="0" y="467"/>
                  </a:cubicBezTo>
                  <a:cubicBezTo>
                    <a:pt x="452" y="467"/>
                    <a:pt x="452" y="467"/>
                    <a:pt x="452" y="467"/>
                  </a:cubicBezTo>
                  <a:cubicBezTo>
                    <a:pt x="220" y="430"/>
                    <a:pt x="36" y="240"/>
                    <a:pt x="0"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1" name="Freeform 10">
              <a:extLst>
                <a:ext uri="{FF2B5EF4-FFF2-40B4-BE49-F238E27FC236}">
                  <a16:creationId xmlns:a16="http://schemas.microsoft.com/office/drawing/2014/main" id="{033E379B-2FC8-8E44-89BE-603AB2A77C72}"/>
                </a:ext>
              </a:extLst>
            </p:cNvPr>
            <p:cNvSpPr>
              <a:spLocks/>
            </p:cNvSpPr>
            <p:nvPr userDrawn="1"/>
          </p:nvSpPr>
          <p:spPr bwMode="auto">
            <a:xfrm>
              <a:off x="1946276" y="1635126"/>
              <a:ext cx="858838" cy="890588"/>
            </a:xfrm>
            <a:custGeom>
              <a:avLst/>
              <a:gdLst>
                <a:gd name="T0" fmla="*/ 0 w 452"/>
                <a:gd name="T1" fmla="*/ 467 h 467"/>
                <a:gd name="T2" fmla="*/ 452 w 452"/>
                <a:gd name="T3" fmla="*/ 467 h 467"/>
                <a:gd name="T4" fmla="*/ 452 w 452"/>
                <a:gd name="T5" fmla="*/ 0 h 467"/>
                <a:gd name="T6" fmla="*/ 0 w 452"/>
                <a:gd name="T7" fmla="*/ 467 h 467"/>
              </a:gdLst>
              <a:ahLst/>
              <a:cxnLst>
                <a:cxn ang="0">
                  <a:pos x="T0" y="T1"/>
                </a:cxn>
                <a:cxn ang="0">
                  <a:pos x="T2" y="T3"/>
                </a:cxn>
                <a:cxn ang="0">
                  <a:pos x="T4" y="T5"/>
                </a:cxn>
                <a:cxn ang="0">
                  <a:pos x="T6" y="T7"/>
                </a:cxn>
              </a:cxnLst>
              <a:rect l="0" t="0" r="r" b="b"/>
              <a:pathLst>
                <a:path w="452" h="467">
                  <a:moveTo>
                    <a:pt x="0" y="467"/>
                  </a:moveTo>
                  <a:cubicBezTo>
                    <a:pt x="452" y="467"/>
                    <a:pt x="452" y="467"/>
                    <a:pt x="452" y="467"/>
                  </a:cubicBezTo>
                  <a:cubicBezTo>
                    <a:pt x="452" y="0"/>
                    <a:pt x="452" y="0"/>
                    <a:pt x="452" y="0"/>
                  </a:cubicBezTo>
                  <a:cubicBezTo>
                    <a:pt x="416" y="240"/>
                    <a:pt x="233" y="430"/>
                    <a:pt x="0"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2" name="Freeform 11">
              <a:extLst>
                <a:ext uri="{FF2B5EF4-FFF2-40B4-BE49-F238E27FC236}">
                  <a16:creationId xmlns:a16="http://schemas.microsoft.com/office/drawing/2014/main" id="{E0ED4CA6-7FAD-3641-93D7-F7B220976DBC}"/>
                </a:ext>
              </a:extLst>
            </p:cNvPr>
            <p:cNvSpPr>
              <a:spLocks/>
            </p:cNvSpPr>
            <p:nvPr userDrawn="1"/>
          </p:nvSpPr>
          <p:spPr bwMode="auto">
            <a:xfrm>
              <a:off x="1946276" y="1265238"/>
              <a:ext cx="319088" cy="414338"/>
            </a:xfrm>
            <a:custGeom>
              <a:avLst/>
              <a:gdLst>
                <a:gd name="T0" fmla="*/ 201 w 201"/>
                <a:gd name="T1" fmla="*/ 166 h 261"/>
                <a:gd name="T2" fmla="*/ 91 w 201"/>
                <a:gd name="T3" fmla="*/ 166 h 261"/>
                <a:gd name="T4" fmla="*/ 91 w 201"/>
                <a:gd name="T5" fmla="*/ 94 h 261"/>
                <a:gd name="T6" fmla="*/ 201 w 201"/>
                <a:gd name="T7" fmla="*/ 94 h 261"/>
                <a:gd name="T8" fmla="*/ 201 w 201"/>
                <a:gd name="T9" fmla="*/ 0 h 261"/>
                <a:gd name="T10" fmla="*/ 0 w 201"/>
                <a:gd name="T11" fmla="*/ 0 h 261"/>
                <a:gd name="T12" fmla="*/ 0 w 201"/>
                <a:gd name="T13" fmla="*/ 261 h 261"/>
                <a:gd name="T14" fmla="*/ 201 w 201"/>
                <a:gd name="T15" fmla="*/ 261 h 261"/>
                <a:gd name="T16" fmla="*/ 201 w 201"/>
                <a:gd name="T17" fmla="*/ 16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61">
                  <a:moveTo>
                    <a:pt x="201" y="166"/>
                  </a:moveTo>
                  <a:lnTo>
                    <a:pt x="91" y="166"/>
                  </a:lnTo>
                  <a:lnTo>
                    <a:pt x="91" y="94"/>
                  </a:lnTo>
                  <a:lnTo>
                    <a:pt x="201" y="94"/>
                  </a:lnTo>
                  <a:lnTo>
                    <a:pt x="201" y="0"/>
                  </a:lnTo>
                  <a:lnTo>
                    <a:pt x="0" y="0"/>
                  </a:lnTo>
                  <a:lnTo>
                    <a:pt x="0" y="261"/>
                  </a:lnTo>
                  <a:lnTo>
                    <a:pt x="201" y="261"/>
                  </a:lnTo>
                  <a:lnTo>
                    <a:pt x="201" y="166"/>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3" name="Freeform 12">
              <a:extLst>
                <a:ext uri="{FF2B5EF4-FFF2-40B4-BE49-F238E27FC236}">
                  <a16:creationId xmlns:a16="http://schemas.microsoft.com/office/drawing/2014/main" id="{D3E45B29-15F1-FE42-8AEE-49DE778AA16E}"/>
                </a:ext>
              </a:extLst>
            </p:cNvPr>
            <p:cNvSpPr>
              <a:spLocks noEditPoints="1"/>
            </p:cNvSpPr>
            <p:nvPr userDrawn="1"/>
          </p:nvSpPr>
          <p:spPr bwMode="auto">
            <a:xfrm>
              <a:off x="2308226" y="1031876"/>
              <a:ext cx="393700" cy="647700"/>
            </a:xfrm>
            <a:custGeom>
              <a:avLst/>
              <a:gdLst>
                <a:gd name="T0" fmla="*/ 163 w 248"/>
                <a:gd name="T1" fmla="*/ 313 h 408"/>
                <a:gd name="T2" fmla="*/ 93 w 248"/>
                <a:gd name="T3" fmla="*/ 313 h 408"/>
                <a:gd name="T4" fmla="*/ 93 w 248"/>
                <a:gd name="T5" fmla="*/ 241 h 408"/>
                <a:gd name="T6" fmla="*/ 163 w 248"/>
                <a:gd name="T7" fmla="*/ 241 h 408"/>
                <a:gd name="T8" fmla="*/ 163 w 248"/>
                <a:gd name="T9" fmla="*/ 313 h 408"/>
                <a:gd name="T10" fmla="*/ 0 w 248"/>
                <a:gd name="T11" fmla="*/ 0 h 408"/>
                <a:gd name="T12" fmla="*/ 0 w 248"/>
                <a:gd name="T13" fmla="*/ 408 h 408"/>
                <a:gd name="T14" fmla="*/ 248 w 248"/>
                <a:gd name="T15" fmla="*/ 408 h 408"/>
                <a:gd name="T16" fmla="*/ 248 w 248"/>
                <a:gd name="T17" fmla="*/ 147 h 408"/>
                <a:gd name="T18" fmla="*/ 93 w 248"/>
                <a:gd name="T19" fmla="*/ 147 h 408"/>
                <a:gd name="T20" fmla="*/ 93 w 248"/>
                <a:gd name="T21" fmla="*/ 0 h 408"/>
                <a:gd name="T22" fmla="*/ 0 w 248"/>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08">
                  <a:moveTo>
                    <a:pt x="163" y="313"/>
                  </a:moveTo>
                  <a:lnTo>
                    <a:pt x="93" y="313"/>
                  </a:lnTo>
                  <a:lnTo>
                    <a:pt x="93" y="241"/>
                  </a:lnTo>
                  <a:lnTo>
                    <a:pt x="163" y="241"/>
                  </a:lnTo>
                  <a:lnTo>
                    <a:pt x="163" y="313"/>
                  </a:lnTo>
                  <a:close/>
                  <a:moveTo>
                    <a:pt x="0" y="0"/>
                  </a:moveTo>
                  <a:lnTo>
                    <a:pt x="0" y="408"/>
                  </a:lnTo>
                  <a:lnTo>
                    <a:pt x="248" y="408"/>
                  </a:lnTo>
                  <a:lnTo>
                    <a:pt x="248" y="147"/>
                  </a:lnTo>
                  <a:lnTo>
                    <a:pt x="93" y="147"/>
                  </a:lnTo>
                  <a:lnTo>
                    <a:pt x="93"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4" name="Freeform 13">
              <a:extLst>
                <a:ext uri="{FF2B5EF4-FFF2-40B4-BE49-F238E27FC236}">
                  <a16:creationId xmlns:a16="http://schemas.microsoft.com/office/drawing/2014/main" id="{D7820A11-DECC-D94A-8DC8-FB02AB7A1D73}"/>
                </a:ext>
              </a:extLst>
            </p:cNvPr>
            <p:cNvSpPr>
              <a:spLocks/>
            </p:cNvSpPr>
            <p:nvPr userDrawn="1"/>
          </p:nvSpPr>
          <p:spPr bwMode="auto">
            <a:xfrm>
              <a:off x="1512888" y="419101"/>
              <a:ext cx="384175" cy="2106613"/>
            </a:xfrm>
            <a:custGeom>
              <a:avLst/>
              <a:gdLst>
                <a:gd name="T0" fmla="*/ 177 w 242"/>
                <a:gd name="T1" fmla="*/ 0 h 1327"/>
                <a:gd name="T2" fmla="*/ 169 w 242"/>
                <a:gd name="T3" fmla="*/ 0 h 1327"/>
                <a:gd name="T4" fmla="*/ 169 w 242"/>
                <a:gd name="T5" fmla="*/ 533 h 1327"/>
                <a:gd name="T6" fmla="*/ 151 w 242"/>
                <a:gd name="T7" fmla="*/ 533 h 1327"/>
                <a:gd name="T8" fmla="*/ 151 w 242"/>
                <a:gd name="T9" fmla="*/ 699 h 1327"/>
                <a:gd name="T10" fmla="*/ 85 w 242"/>
                <a:gd name="T11" fmla="*/ 699 h 1327"/>
                <a:gd name="T12" fmla="*/ 85 w 242"/>
                <a:gd name="T13" fmla="*/ 533 h 1327"/>
                <a:gd name="T14" fmla="*/ 0 w 242"/>
                <a:gd name="T15" fmla="*/ 533 h 1327"/>
                <a:gd name="T16" fmla="*/ 0 w 242"/>
                <a:gd name="T17" fmla="*/ 794 h 1327"/>
                <a:gd name="T18" fmla="*/ 169 w 242"/>
                <a:gd name="T19" fmla="*/ 794 h 1327"/>
                <a:gd name="T20" fmla="*/ 169 w 242"/>
                <a:gd name="T21" fmla="*/ 1327 h 1327"/>
                <a:gd name="T22" fmla="*/ 177 w 242"/>
                <a:gd name="T23" fmla="*/ 1327 h 1327"/>
                <a:gd name="T24" fmla="*/ 177 w 242"/>
                <a:gd name="T25" fmla="*/ 794 h 1327"/>
                <a:gd name="T26" fmla="*/ 242 w 242"/>
                <a:gd name="T27" fmla="*/ 794 h 1327"/>
                <a:gd name="T28" fmla="*/ 242 w 242"/>
                <a:gd name="T29" fmla="*/ 533 h 1327"/>
                <a:gd name="T30" fmla="*/ 177 w 242"/>
                <a:gd name="T31" fmla="*/ 533 h 1327"/>
                <a:gd name="T32" fmla="*/ 177 w 242"/>
                <a:gd name="T33" fmla="*/ 0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1327">
                  <a:moveTo>
                    <a:pt x="177" y="0"/>
                  </a:moveTo>
                  <a:lnTo>
                    <a:pt x="169" y="0"/>
                  </a:lnTo>
                  <a:lnTo>
                    <a:pt x="169" y="533"/>
                  </a:lnTo>
                  <a:lnTo>
                    <a:pt x="151" y="533"/>
                  </a:lnTo>
                  <a:lnTo>
                    <a:pt x="151" y="699"/>
                  </a:lnTo>
                  <a:lnTo>
                    <a:pt x="85" y="699"/>
                  </a:lnTo>
                  <a:lnTo>
                    <a:pt x="85" y="533"/>
                  </a:lnTo>
                  <a:lnTo>
                    <a:pt x="0" y="533"/>
                  </a:lnTo>
                  <a:lnTo>
                    <a:pt x="0" y="794"/>
                  </a:lnTo>
                  <a:lnTo>
                    <a:pt x="169" y="794"/>
                  </a:lnTo>
                  <a:lnTo>
                    <a:pt x="169" y="1327"/>
                  </a:lnTo>
                  <a:lnTo>
                    <a:pt x="177" y="1327"/>
                  </a:lnTo>
                  <a:lnTo>
                    <a:pt x="177" y="794"/>
                  </a:lnTo>
                  <a:lnTo>
                    <a:pt x="242" y="794"/>
                  </a:lnTo>
                  <a:lnTo>
                    <a:pt x="242" y="533"/>
                  </a:lnTo>
                  <a:lnTo>
                    <a:pt x="177" y="533"/>
                  </a:lnTo>
                  <a:lnTo>
                    <a:pt x="177"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5" name="Rectangle 14">
              <a:extLst>
                <a:ext uri="{FF2B5EF4-FFF2-40B4-BE49-F238E27FC236}">
                  <a16:creationId xmlns:a16="http://schemas.microsoft.com/office/drawing/2014/main" id="{C44F2322-E80C-6046-9B7F-CBC481E59A96}"/>
                </a:ext>
              </a:extLst>
            </p:cNvPr>
            <p:cNvSpPr>
              <a:spLocks noChangeArrowheads="1"/>
            </p:cNvSpPr>
            <p:nvPr userDrawn="1"/>
          </p:nvSpPr>
          <p:spPr bwMode="auto">
            <a:xfrm>
              <a:off x="3609976" y="427038"/>
              <a:ext cx="49213" cy="833438"/>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6" name="Freeform 15">
              <a:extLst>
                <a:ext uri="{FF2B5EF4-FFF2-40B4-BE49-F238E27FC236}">
                  <a16:creationId xmlns:a16="http://schemas.microsoft.com/office/drawing/2014/main" id="{22CF1ECC-1B43-D149-BCD8-C13C5EC1FAD0}"/>
                </a:ext>
              </a:extLst>
            </p:cNvPr>
            <p:cNvSpPr>
              <a:spLocks/>
            </p:cNvSpPr>
            <p:nvPr userDrawn="1"/>
          </p:nvSpPr>
          <p:spPr bwMode="auto">
            <a:xfrm>
              <a:off x="3830638" y="649288"/>
              <a:ext cx="481013" cy="611188"/>
            </a:xfrm>
            <a:custGeom>
              <a:avLst/>
              <a:gdLst>
                <a:gd name="T0" fmla="*/ 0 w 253"/>
                <a:gd name="T1" fmla="*/ 8 h 321"/>
                <a:gd name="T2" fmla="*/ 26 w 253"/>
                <a:gd name="T3" fmla="*/ 8 h 321"/>
                <a:gd name="T4" fmla="*/ 26 w 253"/>
                <a:gd name="T5" fmla="*/ 63 h 321"/>
                <a:gd name="T6" fmla="*/ 23 w 253"/>
                <a:gd name="T7" fmla="*/ 89 h 321"/>
                <a:gd name="T8" fmla="*/ 24 w 253"/>
                <a:gd name="T9" fmla="*/ 89 h 321"/>
                <a:gd name="T10" fmla="*/ 153 w 253"/>
                <a:gd name="T11" fmla="*/ 0 h 321"/>
                <a:gd name="T12" fmla="*/ 253 w 253"/>
                <a:gd name="T13" fmla="*/ 122 h 321"/>
                <a:gd name="T14" fmla="*/ 253 w 253"/>
                <a:gd name="T15" fmla="*/ 321 h 321"/>
                <a:gd name="T16" fmla="*/ 227 w 253"/>
                <a:gd name="T17" fmla="*/ 321 h 321"/>
                <a:gd name="T18" fmla="*/ 227 w 253"/>
                <a:gd name="T19" fmla="*/ 132 h 321"/>
                <a:gd name="T20" fmla="*/ 153 w 253"/>
                <a:gd name="T21" fmla="*/ 26 h 321"/>
                <a:gd name="T22" fmla="*/ 30 w 253"/>
                <a:gd name="T23" fmla="*/ 126 h 321"/>
                <a:gd name="T24" fmla="*/ 26 w 253"/>
                <a:gd name="T25" fmla="*/ 168 h 321"/>
                <a:gd name="T26" fmla="*/ 26 w 253"/>
                <a:gd name="T27" fmla="*/ 321 h 321"/>
                <a:gd name="T28" fmla="*/ 0 w 253"/>
                <a:gd name="T29" fmla="*/ 321 h 321"/>
                <a:gd name="T30" fmla="*/ 0 w 253"/>
                <a:gd name="T31" fmla="*/ 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321">
                  <a:moveTo>
                    <a:pt x="0" y="8"/>
                  </a:moveTo>
                  <a:cubicBezTo>
                    <a:pt x="26" y="8"/>
                    <a:pt x="26" y="8"/>
                    <a:pt x="26" y="8"/>
                  </a:cubicBezTo>
                  <a:cubicBezTo>
                    <a:pt x="26" y="63"/>
                    <a:pt x="26" y="63"/>
                    <a:pt x="26" y="63"/>
                  </a:cubicBezTo>
                  <a:cubicBezTo>
                    <a:pt x="26" y="77"/>
                    <a:pt x="23" y="89"/>
                    <a:pt x="23" y="89"/>
                  </a:cubicBezTo>
                  <a:cubicBezTo>
                    <a:pt x="24" y="89"/>
                    <a:pt x="24" y="89"/>
                    <a:pt x="24" y="89"/>
                  </a:cubicBezTo>
                  <a:cubicBezTo>
                    <a:pt x="35" y="59"/>
                    <a:pt x="77" y="0"/>
                    <a:pt x="153" y="0"/>
                  </a:cubicBezTo>
                  <a:cubicBezTo>
                    <a:pt x="231" y="0"/>
                    <a:pt x="253" y="49"/>
                    <a:pt x="253" y="122"/>
                  </a:cubicBezTo>
                  <a:cubicBezTo>
                    <a:pt x="253" y="321"/>
                    <a:pt x="253" y="321"/>
                    <a:pt x="253" y="321"/>
                  </a:cubicBezTo>
                  <a:cubicBezTo>
                    <a:pt x="227" y="321"/>
                    <a:pt x="227" y="321"/>
                    <a:pt x="227" y="321"/>
                  </a:cubicBezTo>
                  <a:cubicBezTo>
                    <a:pt x="227" y="132"/>
                    <a:pt x="227" y="132"/>
                    <a:pt x="227" y="132"/>
                  </a:cubicBezTo>
                  <a:cubicBezTo>
                    <a:pt x="227" y="77"/>
                    <a:pt x="220" y="26"/>
                    <a:pt x="153" y="26"/>
                  </a:cubicBezTo>
                  <a:cubicBezTo>
                    <a:pt x="96" y="26"/>
                    <a:pt x="46" y="67"/>
                    <a:pt x="30" y="126"/>
                  </a:cubicBezTo>
                  <a:cubicBezTo>
                    <a:pt x="27" y="139"/>
                    <a:pt x="26" y="153"/>
                    <a:pt x="26" y="168"/>
                  </a:cubicBezTo>
                  <a:cubicBezTo>
                    <a:pt x="26" y="321"/>
                    <a:pt x="26" y="321"/>
                    <a:pt x="26" y="321"/>
                  </a:cubicBezTo>
                  <a:cubicBezTo>
                    <a:pt x="0" y="321"/>
                    <a:pt x="0" y="321"/>
                    <a:pt x="0" y="321"/>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7" name="Freeform 16">
              <a:extLst>
                <a:ext uri="{FF2B5EF4-FFF2-40B4-BE49-F238E27FC236}">
                  <a16:creationId xmlns:a16="http://schemas.microsoft.com/office/drawing/2014/main" id="{94CF9AA2-6644-5E45-8D06-0343985404C4}"/>
                </a:ext>
              </a:extLst>
            </p:cNvPr>
            <p:cNvSpPr>
              <a:spLocks/>
            </p:cNvSpPr>
            <p:nvPr userDrawn="1"/>
          </p:nvSpPr>
          <p:spPr bwMode="auto">
            <a:xfrm>
              <a:off x="4400551" y="652463"/>
              <a:ext cx="392113" cy="622300"/>
            </a:xfrm>
            <a:custGeom>
              <a:avLst/>
              <a:gdLst>
                <a:gd name="T0" fmla="*/ 16 w 206"/>
                <a:gd name="T1" fmla="*/ 262 h 327"/>
                <a:gd name="T2" fmla="*/ 110 w 206"/>
                <a:gd name="T3" fmla="*/ 302 h 327"/>
                <a:gd name="T4" fmla="*/ 179 w 206"/>
                <a:gd name="T5" fmla="*/ 243 h 327"/>
                <a:gd name="T6" fmla="*/ 13 w 206"/>
                <a:gd name="T7" fmla="*/ 84 h 327"/>
                <a:gd name="T8" fmla="*/ 110 w 206"/>
                <a:gd name="T9" fmla="*/ 0 h 327"/>
                <a:gd name="T10" fmla="*/ 199 w 206"/>
                <a:gd name="T11" fmla="*/ 33 h 327"/>
                <a:gd name="T12" fmla="*/ 184 w 206"/>
                <a:gd name="T13" fmla="*/ 55 h 327"/>
                <a:gd name="T14" fmla="*/ 108 w 206"/>
                <a:gd name="T15" fmla="*/ 25 h 327"/>
                <a:gd name="T16" fmla="*/ 40 w 206"/>
                <a:gd name="T17" fmla="*/ 82 h 327"/>
                <a:gd name="T18" fmla="*/ 206 w 206"/>
                <a:gd name="T19" fmla="*/ 243 h 327"/>
                <a:gd name="T20" fmla="*/ 109 w 206"/>
                <a:gd name="T21" fmla="*/ 327 h 327"/>
                <a:gd name="T22" fmla="*/ 0 w 206"/>
                <a:gd name="T23" fmla="*/ 282 h 327"/>
                <a:gd name="T24" fmla="*/ 16 w 206"/>
                <a:gd name="T25" fmla="*/ 2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327">
                  <a:moveTo>
                    <a:pt x="16" y="262"/>
                  </a:moveTo>
                  <a:cubicBezTo>
                    <a:pt x="16" y="262"/>
                    <a:pt x="50" y="302"/>
                    <a:pt x="110" y="302"/>
                  </a:cubicBezTo>
                  <a:cubicBezTo>
                    <a:pt x="147" y="302"/>
                    <a:pt x="179" y="281"/>
                    <a:pt x="179" y="243"/>
                  </a:cubicBezTo>
                  <a:cubicBezTo>
                    <a:pt x="179" y="163"/>
                    <a:pt x="13" y="186"/>
                    <a:pt x="13" y="84"/>
                  </a:cubicBezTo>
                  <a:cubicBezTo>
                    <a:pt x="13" y="28"/>
                    <a:pt x="58" y="0"/>
                    <a:pt x="110" y="0"/>
                  </a:cubicBezTo>
                  <a:cubicBezTo>
                    <a:pt x="171" y="0"/>
                    <a:pt x="199" y="33"/>
                    <a:pt x="199" y="33"/>
                  </a:cubicBezTo>
                  <a:cubicBezTo>
                    <a:pt x="184" y="55"/>
                    <a:pt x="184" y="55"/>
                    <a:pt x="184" y="55"/>
                  </a:cubicBezTo>
                  <a:cubicBezTo>
                    <a:pt x="184" y="55"/>
                    <a:pt x="159" y="25"/>
                    <a:pt x="108" y="25"/>
                  </a:cubicBezTo>
                  <a:cubicBezTo>
                    <a:pt x="73" y="25"/>
                    <a:pt x="40" y="41"/>
                    <a:pt x="40" y="82"/>
                  </a:cubicBezTo>
                  <a:cubicBezTo>
                    <a:pt x="40" y="163"/>
                    <a:pt x="206" y="139"/>
                    <a:pt x="206" y="243"/>
                  </a:cubicBezTo>
                  <a:cubicBezTo>
                    <a:pt x="206" y="293"/>
                    <a:pt x="165" y="327"/>
                    <a:pt x="109" y="327"/>
                  </a:cubicBezTo>
                  <a:cubicBezTo>
                    <a:pt x="36" y="327"/>
                    <a:pt x="0" y="282"/>
                    <a:pt x="0" y="282"/>
                  </a:cubicBezTo>
                  <a:lnTo>
                    <a:pt x="16" y="26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8" name="Freeform 17">
              <a:extLst>
                <a:ext uri="{FF2B5EF4-FFF2-40B4-BE49-F238E27FC236}">
                  <a16:creationId xmlns:a16="http://schemas.microsoft.com/office/drawing/2014/main" id="{0698A4B1-DFE2-9841-865D-FCBBA42BE413}"/>
                </a:ext>
              </a:extLst>
            </p:cNvPr>
            <p:cNvSpPr>
              <a:spLocks noEditPoints="1"/>
            </p:cNvSpPr>
            <p:nvPr userDrawn="1"/>
          </p:nvSpPr>
          <p:spPr bwMode="auto">
            <a:xfrm>
              <a:off x="4899026" y="649288"/>
              <a:ext cx="501650" cy="849313"/>
            </a:xfrm>
            <a:custGeom>
              <a:avLst/>
              <a:gdLst>
                <a:gd name="T0" fmla="*/ 130 w 264"/>
                <a:gd name="T1" fmla="*/ 303 h 446"/>
                <a:gd name="T2" fmla="*/ 238 w 264"/>
                <a:gd name="T3" fmla="*/ 164 h 446"/>
                <a:gd name="T4" fmla="*/ 132 w 264"/>
                <a:gd name="T5" fmla="*/ 26 h 446"/>
                <a:gd name="T6" fmla="*/ 25 w 264"/>
                <a:gd name="T7" fmla="*/ 165 h 446"/>
                <a:gd name="T8" fmla="*/ 130 w 264"/>
                <a:gd name="T9" fmla="*/ 303 h 446"/>
                <a:gd name="T10" fmla="*/ 0 w 264"/>
                <a:gd name="T11" fmla="*/ 8 h 446"/>
                <a:gd name="T12" fmla="*/ 25 w 264"/>
                <a:gd name="T13" fmla="*/ 8 h 446"/>
                <a:gd name="T14" fmla="*/ 25 w 264"/>
                <a:gd name="T15" fmla="*/ 46 h 446"/>
                <a:gd name="T16" fmla="*/ 23 w 264"/>
                <a:gd name="T17" fmla="*/ 71 h 446"/>
                <a:gd name="T18" fmla="*/ 25 w 264"/>
                <a:gd name="T19" fmla="*/ 71 h 446"/>
                <a:gd name="T20" fmla="*/ 134 w 264"/>
                <a:gd name="T21" fmla="*/ 0 h 446"/>
                <a:gd name="T22" fmla="*/ 264 w 264"/>
                <a:gd name="T23" fmla="*/ 164 h 446"/>
                <a:gd name="T24" fmla="*/ 130 w 264"/>
                <a:gd name="T25" fmla="*/ 328 h 446"/>
                <a:gd name="T26" fmla="*/ 24 w 264"/>
                <a:gd name="T27" fmla="*/ 257 h 446"/>
                <a:gd name="T28" fmla="*/ 23 w 264"/>
                <a:gd name="T29" fmla="*/ 257 h 446"/>
                <a:gd name="T30" fmla="*/ 25 w 264"/>
                <a:gd name="T31" fmla="*/ 285 h 446"/>
                <a:gd name="T32" fmla="*/ 25 w 264"/>
                <a:gd name="T33" fmla="*/ 446 h 446"/>
                <a:gd name="T34" fmla="*/ 0 w 264"/>
                <a:gd name="T35" fmla="*/ 446 h 446"/>
                <a:gd name="T36" fmla="*/ 0 w 264"/>
                <a:gd name="T37" fmla="*/ 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303"/>
                  </a:moveTo>
                  <a:cubicBezTo>
                    <a:pt x="189" y="303"/>
                    <a:pt x="238" y="252"/>
                    <a:pt x="238" y="164"/>
                  </a:cubicBezTo>
                  <a:cubicBezTo>
                    <a:pt x="238" y="80"/>
                    <a:pt x="194" y="26"/>
                    <a:pt x="132" y="26"/>
                  </a:cubicBezTo>
                  <a:cubicBezTo>
                    <a:pt x="77" y="26"/>
                    <a:pt x="25" y="67"/>
                    <a:pt x="25" y="165"/>
                  </a:cubicBezTo>
                  <a:cubicBezTo>
                    <a:pt x="25" y="234"/>
                    <a:pt x="62" y="303"/>
                    <a:pt x="130" y="303"/>
                  </a:cubicBezTo>
                  <a:moveTo>
                    <a:pt x="0" y="8"/>
                  </a:moveTo>
                  <a:cubicBezTo>
                    <a:pt x="25" y="8"/>
                    <a:pt x="25" y="8"/>
                    <a:pt x="25" y="8"/>
                  </a:cubicBezTo>
                  <a:cubicBezTo>
                    <a:pt x="25" y="46"/>
                    <a:pt x="25" y="46"/>
                    <a:pt x="25" y="46"/>
                  </a:cubicBezTo>
                  <a:cubicBezTo>
                    <a:pt x="25" y="60"/>
                    <a:pt x="23" y="71"/>
                    <a:pt x="23" y="71"/>
                  </a:cubicBezTo>
                  <a:cubicBezTo>
                    <a:pt x="25" y="71"/>
                    <a:pt x="25" y="71"/>
                    <a:pt x="25" y="71"/>
                  </a:cubicBezTo>
                  <a:cubicBezTo>
                    <a:pt x="25" y="71"/>
                    <a:pt x="49" y="0"/>
                    <a:pt x="134" y="0"/>
                  </a:cubicBezTo>
                  <a:cubicBezTo>
                    <a:pt x="215" y="0"/>
                    <a:pt x="264" y="67"/>
                    <a:pt x="264" y="164"/>
                  </a:cubicBezTo>
                  <a:cubicBezTo>
                    <a:pt x="264" y="264"/>
                    <a:pt x="208" y="328"/>
                    <a:pt x="130" y="328"/>
                  </a:cubicBezTo>
                  <a:cubicBezTo>
                    <a:pt x="51" y="328"/>
                    <a:pt x="24" y="257"/>
                    <a:pt x="24" y="257"/>
                  </a:cubicBezTo>
                  <a:cubicBezTo>
                    <a:pt x="23" y="257"/>
                    <a:pt x="23" y="257"/>
                    <a:pt x="23" y="257"/>
                  </a:cubicBezTo>
                  <a:cubicBezTo>
                    <a:pt x="23" y="257"/>
                    <a:pt x="25" y="269"/>
                    <a:pt x="25" y="285"/>
                  </a:cubicBezTo>
                  <a:cubicBezTo>
                    <a:pt x="25" y="446"/>
                    <a:pt x="25" y="446"/>
                    <a:pt x="25" y="446"/>
                  </a:cubicBezTo>
                  <a:cubicBezTo>
                    <a:pt x="0" y="446"/>
                    <a:pt x="0" y="446"/>
                    <a:pt x="0" y="446"/>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9" name="Freeform 18">
              <a:extLst>
                <a:ext uri="{FF2B5EF4-FFF2-40B4-BE49-F238E27FC236}">
                  <a16:creationId xmlns:a16="http://schemas.microsoft.com/office/drawing/2014/main" id="{6BDFB3D1-2289-2044-A75C-AFFA96CDD31A}"/>
                </a:ext>
              </a:extLst>
            </p:cNvPr>
            <p:cNvSpPr>
              <a:spLocks noEditPoints="1"/>
            </p:cNvSpPr>
            <p:nvPr userDrawn="1"/>
          </p:nvSpPr>
          <p:spPr bwMode="auto">
            <a:xfrm>
              <a:off x="5513388" y="427038"/>
              <a:ext cx="57150" cy="833438"/>
            </a:xfrm>
            <a:custGeom>
              <a:avLst/>
              <a:gdLst>
                <a:gd name="T0" fmla="*/ 3 w 36"/>
                <a:gd name="T1" fmla="*/ 525 h 525"/>
                <a:gd name="T2" fmla="*/ 34 w 36"/>
                <a:gd name="T3" fmla="*/ 525 h 525"/>
                <a:gd name="T4" fmla="*/ 34 w 36"/>
                <a:gd name="T5" fmla="*/ 150 h 525"/>
                <a:gd name="T6" fmla="*/ 3 w 36"/>
                <a:gd name="T7" fmla="*/ 150 h 525"/>
                <a:gd name="T8" fmla="*/ 3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3" y="525"/>
                  </a:moveTo>
                  <a:lnTo>
                    <a:pt x="34" y="525"/>
                  </a:lnTo>
                  <a:lnTo>
                    <a:pt x="34" y="150"/>
                  </a:lnTo>
                  <a:lnTo>
                    <a:pt x="3" y="150"/>
                  </a:lnTo>
                  <a:lnTo>
                    <a:pt x="3"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0" name="Freeform 19">
              <a:extLst>
                <a:ext uri="{FF2B5EF4-FFF2-40B4-BE49-F238E27FC236}">
                  <a16:creationId xmlns:a16="http://schemas.microsoft.com/office/drawing/2014/main" id="{D1A9C671-C74E-C94F-85F2-D76BF0DB2117}"/>
                </a:ext>
              </a:extLst>
            </p:cNvPr>
            <p:cNvSpPr>
              <a:spLocks/>
            </p:cNvSpPr>
            <p:nvPr userDrawn="1"/>
          </p:nvSpPr>
          <p:spPr bwMode="auto">
            <a:xfrm>
              <a:off x="5716588" y="660401"/>
              <a:ext cx="263525" cy="600075"/>
            </a:xfrm>
            <a:custGeom>
              <a:avLst/>
              <a:gdLst>
                <a:gd name="T0" fmla="*/ 0 w 138"/>
                <a:gd name="T1" fmla="*/ 2 h 315"/>
                <a:gd name="T2" fmla="*/ 25 w 138"/>
                <a:gd name="T3" fmla="*/ 2 h 315"/>
                <a:gd name="T4" fmla="*/ 25 w 138"/>
                <a:gd name="T5" fmla="*/ 61 h 315"/>
                <a:gd name="T6" fmla="*/ 23 w 138"/>
                <a:gd name="T7" fmla="*/ 87 h 315"/>
                <a:gd name="T8" fmla="*/ 24 w 138"/>
                <a:gd name="T9" fmla="*/ 87 h 315"/>
                <a:gd name="T10" fmla="*/ 121 w 138"/>
                <a:gd name="T11" fmla="*/ 0 h 315"/>
                <a:gd name="T12" fmla="*/ 138 w 138"/>
                <a:gd name="T13" fmla="*/ 1 h 315"/>
                <a:gd name="T14" fmla="*/ 138 w 138"/>
                <a:gd name="T15" fmla="*/ 28 h 315"/>
                <a:gd name="T16" fmla="*/ 125 w 138"/>
                <a:gd name="T17" fmla="*/ 26 h 315"/>
                <a:gd name="T18" fmla="*/ 34 w 138"/>
                <a:gd name="T19" fmla="*/ 114 h 315"/>
                <a:gd name="T20" fmla="*/ 25 w 138"/>
                <a:gd name="T21" fmla="*/ 180 h 315"/>
                <a:gd name="T22" fmla="*/ 25 w 138"/>
                <a:gd name="T23" fmla="*/ 315 h 315"/>
                <a:gd name="T24" fmla="*/ 0 w 138"/>
                <a:gd name="T25" fmla="*/ 315 h 315"/>
                <a:gd name="T26" fmla="*/ 0 w 138"/>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15">
                  <a:moveTo>
                    <a:pt x="0" y="2"/>
                  </a:moveTo>
                  <a:cubicBezTo>
                    <a:pt x="25" y="2"/>
                    <a:pt x="25" y="2"/>
                    <a:pt x="25" y="2"/>
                  </a:cubicBezTo>
                  <a:cubicBezTo>
                    <a:pt x="25" y="61"/>
                    <a:pt x="25" y="61"/>
                    <a:pt x="25" y="61"/>
                  </a:cubicBezTo>
                  <a:cubicBezTo>
                    <a:pt x="25" y="76"/>
                    <a:pt x="23" y="87"/>
                    <a:pt x="23" y="87"/>
                  </a:cubicBezTo>
                  <a:cubicBezTo>
                    <a:pt x="24" y="87"/>
                    <a:pt x="24" y="87"/>
                    <a:pt x="24" y="87"/>
                  </a:cubicBezTo>
                  <a:cubicBezTo>
                    <a:pt x="39" y="39"/>
                    <a:pt x="73" y="0"/>
                    <a:pt x="121" y="0"/>
                  </a:cubicBezTo>
                  <a:cubicBezTo>
                    <a:pt x="130" y="0"/>
                    <a:pt x="138" y="1"/>
                    <a:pt x="138" y="1"/>
                  </a:cubicBezTo>
                  <a:cubicBezTo>
                    <a:pt x="138" y="28"/>
                    <a:pt x="138" y="28"/>
                    <a:pt x="138" y="28"/>
                  </a:cubicBezTo>
                  <a:cubicBezTo>
                    <a:pt x="138" y="28"/>
                    <a:pt x="131" y="26"/>
                    <a:pt x="125" y="26"/>
                  </a:cubicBezTo>
                  <a:cubicBezTo>
                    <a:pt x="77" y="26"/>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1" name="Freeform 20">
              <a:extLst>
                <a:ext uri="{FF2B5EF4-FFF2-40B4-BE49-F238E27FC236}">
                  <a16:creationId xmlns:a16="http://schemas.microsoft.com/office/drawing/2014/main" id="{17D20FA3-13D2-A94D-8093-C516D00DC59F}"/>
                </a:ext>
              </a:extLst>
            </p:cNvPr>
            <p:cNvSpPr>
              <a:spLocks noEditPoints="1"/>
            </p:cNvSpPr>
            <p:nvPr userDrawn="1"/>
          </p:nvSpPr>
          <p:spPr bwMode="auto">
            <a:xfrm>
              <a:off x="5991226" y="649288"/>
              <a:ext cx="514350" cy="625475"/>
            </a:xfrm>
            <a:custGeom>
              <a:avLst/>
              <a:gdLst>
                <a:gd name="T0" fmla="*/ 244 w 271"/>
                <a:gd name="T1" fmla="*/ 136 h 328"/>
                <a:gd name="T2" fmla="*/ 147 w 271"/>
                <a:gd name="T3" fmla="*/ 25 h 328"/>
                <a:gd name="T4" fmla="*/ 29 w 271"/>
                <a:gd name="T5" fmla="*/ 136 h 328"/>
                <a:gd name="T6" fmla="*/ 244 w 271"/>
                <a:gd name="T7" fmla="*/ 136 h 328"/>
                <a:gd name="T8" fmla="*/ 147 w 271"/>
                <a:gd name="T9" fmla="*/ 0 h 328"/>
                <a:gd name="T10" fmla="*/ 271 w 271"/>
                <a:gd name="T11" fmla="*/ 143 h 328"/>
                <a:gd name="T12" fmla="*/ 270 w 271"/>
                <a:gd name="T13" fmla="*/ 160 h 328"/>
                <a:gd name="T14" fmla="*/ 27 w 271"/>
                <a:gd name="T15" fmla="*/ 160 h 328"/>
                <a:gd name="T16" fmla="*/ 156 w 271"/>
                <a:gd name="T17" fmla="*/ 303 h 328"/>
                <a:gd name="T18" fmla="*/ 250 w 271"/>
                <a:gd name="T19" fmla="*/ 263 h 328"/>
                <a:gd name="T20" fmla="*/ 264 w 271"/>
                <a:gd name="T21" fmla="*/ 285 h 328"/>
                <a:gd name="T22" fmla="*/ 156 w 271"/>
                <a:gd name="T23" fmla="*/ 328 h 328"/>
                <a:gd name="T24" fmla="*/ 0 w 271"/>
                <a:gd name="T25" fmla="*/ 165 h 328"/>
                <a:gd name="T26" fmla="*/ 147 w 271"/>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328">
                  <a:moveTo>
                    <a:pt x="244" y="136"/>
                  </a:moveTo>
                  <a:cubicBezTo>
                    <a:pt x="241" y="59"/>
                    <a:pt x="197" y="25"/>
                    <a:pt x="147" y="25"/>
                  </a:cubicBezTo>
                  <a:cubicBezTo>
                    <a:pt x="91" y="25"/>
                    <a:pt x="39" y="62"/>
                    <a:pt x="29" y="136"/>
                  </a:cubicBezTo>
                  <a:lnTo>
                    <a:pt x="244" y="136"/>
                  </a:lnTo>
                  <a:close/>
                  <a:moveTo>
                    <a:pt x="147" y="0"/>
                  </a:moveTo>
                  <a:cubicBezTo>
                    <a:pt x="230" y="0"/>
                    <a:pt x="271" y="67"/>
                    <a:pt x="271" y="143"/>
                  </a:cubicBezTo>
                  <a:cubicBezTo>
                    <a:pt x="271" y="150"/>
                    <a:pt x="270" y="160"/>
                    <a:pt x="270" y="160"/>
                  </a:cubicBezTo>
                  <a:cubicBezTo>
                    <a:pt x="27" y="160"/>
                    <a:pt x="27" y="160"/>
                    <a:pt x="27" y="160"/>
                  </a:cubicBezTo>
                  <a:cubicBezTo>
                    <a:pt x="27" y="251"/>
                    <a:pt x="86" y="303"/>
                    <a:pt x="156" y="303"/>
                  </a:cubicBezTo>
                  <a:cubicBezTo>
                    <a:pt x="214" y="303"/>
                    <a:pt x="250" y="263"/>
                    <a:pt x="250" y="263"/>
                  </a:cubicBezTo>
                  <a:cubicBezTo>
                    <a:pt x="264" y="285"/>
                    <a:pt x="264" y="285"/>
                    <a:pt x="264" y="285"/>
                  </a:cubicBezTo>
                  <a:cubicBezTo>
                    <a:pt x="264" y="285"/>
                    <a:pt x="222" y="328"/>
                    <a:pt x="156" y="328"/>
                  </a:cubicBezTo>
                  <a:cubicBezTo>
                    <a:pt x="71" y="328"/>
                    <a:pt x="0" y="264"/>
                    <a:pt x="0" y="165"/>
                  </a:cubicBezTo>
                  <a:cubicBezTo>
                    <a:pt x="0" y="59"/>
                    <a:pt x="70"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2" name="Freeform 21">
              <a:extLst>
                <a:ext uri="{FF2B5EF4-FFF2-40B4-BE49-F238E27FC236}">
                  <a16:creationId xmlns:a16="http://schemas.microsoft.com/office/drawing/2014/main" id="{422927B4-DE24-F64B-929C-721E68C256D4}"/>
                </a:ext>
              </a:extLst>
            </p:cNvPr>
            <p:cNvSpPr>
              <a:spLocks noEditPoints="1"/>
            </p:cNvSpPr>
            <p:nvPr userDrawn="1"/>
          </p:nvSpPr>
          <p:spPr bwMode="auto">
            <a:xfrm>
              <a:off x="6584951" y="427038"/>
              <a:ext cx="501650" cy="847725"/>
            </a:xfrm>
            <a:custGeom>
              <a:avLst/>
              <a:gdLst>
                <a:gd name="T0" fmla="*/ 132 w 264"/>
                <a:gd name="T1" fmla="*/ 420 h 445"/>
                <a:gd name="T2" fmla="*/ 239 w 264"/>
                <a:gd name="T3" fmla="*/ 281 h 445"/>
                <a:gd name="T4" fmla="*/ 134 w 264"/>
                <a:gd name="T5" fmla="*/ 143 h 445"/>
                <a:gd name="T6" fmla="*/ 26 w 264"/>
                <a:gd name="T7" fmla="*/ 281 h 445"/>
                <a:gd name="T8" fmla="*/ 132 w 264"/>
                <a:gd name="T9" fmla="*/ 420 h 445"/>
                <a:gd name="T10" fmla="*/ 135 w 264"/>
                <a:gd name="T11" fmla="*/ 117 h 445"/>
                <a:gd name="T12" fmla="*/ 240 w 264"/>
                <a:gd name="T13" fmla="*/ 188 h 445"/>
                <a:gd name="T14" fmla="*/ 241 w 264"/>
                <a:gd name="T15" fmla="*/ 188 h 445"/>
                <a:gd name="T16" fmla="*/ 239 w 264"/>
                <a:gd name="T17" fmla="*/ 162 h 445"/>
                <a:gd name="T18" fmla="*/ 239 w 264"/>
                <a:gd name="T19" fmla="*/ 0 h 445"/>
                <a:gd name="T20" fmla="*/ 264 w 264"/>
                <a:gd name="T21" fmla="*/ 0 h 445"/>
                <a:gd name="T22" fmla="*/ 264 w 264"/>
                <a:gd name="T23" fmla="*/ 438 h 445"/>
                <a:gd name="T24" fmla="*/ 239 w 264"/>
                <a:gd name="T25" fmla="*/ 438 h 445"/>
                <a:gd name="T26" fmla="*/ 239 w 264"/>
                <a:gd name="T27" fmla="*/ 398 h 445"/>
                <a:gd name="T28" fmla="*/ 241 w 264"/>
                <a:gd name="T29" fmla="*/ 374 h 445"/>
                <a:gd name="T30" fmla="*/ 240 w 264"/>
                <a:gd name="T31" fmla="*/ 374 h 445"/>
                <a:gd name="T32" fmla="*/ 131 w 264"/>
                <a:gd name="T33" fmla="*/ 445 h 445"/>
                <a:gd name="T34" fmla="*/ 0 w 264"/>
                <a:gd name="T35" fmla="*/ 281 h 445"/>
                <a:gd name="T36" fmla="*/ 135 w 264"/>
                <a:gd name="T37" fmla="*/ 11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5">
                  <a:moveTo>
                    <a:pt x="132" y="420"/>
                  </a:moveTo>
                  <a:cubicBezTo>
                    <a:pt x="187" y="420"/>
                    <a:pt x="239" y="379"/>
                    <a:pt x="239" y="281"/>
                  </a:cubicBezTo>
                  <a:cubicBezTo>
                    <a:pt x="239" y="211"/>
                    <a:pt x="205" y="143"/>
                    <a:pt x="134" y="143"/>
                  </a:cubicBezTo>
                  <a:cubicBezTo>
                    <a:pt x="75" y="143"/>
                    <a:pt x="26" y="194"/>
                    <a:pt x="26" y="281"/>
                  </a:cubicBezTo>
                  <a:cubicBezTo>
                    <a:pt x="26" y="366"/>
                    <a:pt x="70" y="420"/>
                    <a:pt x="132" y="420"/>
                  </a:cubicBezTo>
                  <a:moveTo>
                    <a:pt x="135" y="117"/>
                  </a:moveTo>
                  <a:cubicBezTo>
                    <a:pt x="212" y="117"/>
                    <a:pt x="240" y="188"/>
                    <a:pt x="240" y="188"/>
                  </a:cubicBezTo>
                  <a:cubicBezTo>
                    <a:pt x="241" y="188"/>
                    <a:pt x="241" y="188"/>
                    <a:pt x="241" y="188"/>
                  </a:cubicBezTo>
                  <a:cubicBezTo>
                    <a:pt x="241" y="188"/>
                    <a:pt x="239" y="177"/>
                    <a:pt x="239" y="162"/>
                  </a:cubicBezTo>
                  <a:cubicBezTo>
                    <a:pt x="239" y="0"/>
                    <a:pt x="239" y="0"/>
                    <a:pt x="239" y="0"/>
                  </a:cubicBezTo>
                  <a:cubicBezTo>
                    <a:pt x="264" y="0"/>
                    <a:pt x="264" y="0"/>
                    <a:pt x="264" y="0"/>
                  </a:cubicBezTo>
                  <a:cubicBezTo>
                    <a:pt x="264" y="438"/>
                    <a:pt x="264" y="438"/>
                    <a:pt x="264" y="438"/>
                  </a:cubicBezTo>
                  <a:cubicBezTo>
                    <a:pt x="239" y="438"/>
                    <a:pt x="239" y="438"/>
                    <a:pt x="239" y="438"/>
                  </a:cubicBezTo>
                  <a:cubicBezTo>
                    <a:pt x="239" y="398"/>
                    <a:pt x="239" y="398"/>
                    <a:pt x="239" y="398"/>
                  </a:cubicBezTo>
                  <a:cubicBezTo>
                    <a:pt x="239" y="384"/>
                    <a:pt x="241" y="374"/>
                    <a:pt x="241" y="374"/>
                  </a:cubicBezTo>
                  <a:cubicBezTo>
                    <a:pt x="240" y="374"/>
                    <a:pt x="240" y="374"/>
                    <a:pt x="240" y="374"/>
                  </a:cubicBezTo>
                  <a:cubicBezTo>
                    <a:pt x="240" y="374"/>
                    <a:pt x="214" y="445"/>
                    <a:pt x="131" y="445"/>
                  </a:cubicBezTo>
                  <a:cubicBezTo>
                    <a:pt x="49" y="445"/>
                    <a:pt x="0" y="378"/>
                    <a:pt x="0" y="281"/>
                  </a:cubicBezTo>
                  <a:cubicBezTo>
                    <a:pt x="0" y="182"/>
                    <a:pt x="56" y="117"/>
                    <a:pt x="135" y="11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3" name="Freeform 22">
              <a:extLst>
                <a:ext uri="{FF2B5EF4-FFF2-40B4-BE49-F238E27FC236}">
                  <a16:creationId xmlns:a16="http://schemas.microsoft.com/office/drawing/2014/main" id="{70B13E47-3809-544E-9324-98A4D8666F91}"/>
                </a:ext>
              </a:extLst>
            </p:cNvPr>
            <p:cNvSpPr>
              <a:spLocks noEditPoints="1"/>
            </p:cNvSpPr>
            <p:nvPr userDrawn="1"/>
          </p:nvSpPr>
          <p:spPr bwMode="auto">
            <a:xfrm>
              <a:off x="7562851" y="427038"/>
              <a:ext cx="503238" cy="847725"/>
            </a:xfrm>
            <a:custGeom>
              <a:avLst/>
              <a:gdLst>
                <a:gd name="T0" fmla="*/ 130 w 265"/>
                <a:gd name="T1" fmla="*/ 420 h 445"/>
                <a:gd name="T2" fmla="*/ 238 w 265"/>
                <a:gd name="T3" fmla="*/ 281 h 445"/>
                <a:gd name="T4" fmla="*/ 133 w 265"/>
                <a:gd name="T5" fmla="*/ 143 h 445"/>
                <a:gd name="T6" fmla="*/ 25 w 265"/>
                <a:gd name="T7" fmla="*/ 282 h 445"/>
                <a:gd name="T8" fmla="*/ 130 w 265"/>
                <a:gd name="T9" fmla="*/ 420 h 445"/>
                <a:gd name="T10" fmla="*/ 0 w 265"/>
                <a:gd name="T11" fmla="*/ 0 h 445"/>
                <a:gd name="T12" fmla="*/ 26 w 265"/>
                <a:gd name="T13" fmla="*/ 0 h 445"/>
                <a:gd name="T14" fmla="*/ 26 w 265"/>
                <a:gd name="T15" fmla="*/ 163 h 445"/>
                <a:gd name="T16" fmla="*/ 23 w 265"/>
                <a:gd name="T17" fmla="*/ 188 h 445"/>
                <a:gd name="T18" fmla="*/ 24 w 265"/>
                <a:gd name="T19" fmla="*/ 188 h 445"/>
                <a:gd name="T20" fmla="*/ 134 w 265"/>
                <a:gd name="T21" fmla="*/ 117 h 445"/>
                <a:gd name="T22" fmla="*/ 265 w 265"/>
                <a:gd name="T23" fmla="*/ 281 h 445"/>
                <a:gd name="T24" fmla="*/ 129 w 265"/>
                <a:gd name="T25" fmla="*/ 445 h 445"/>
                <a:gd name="T26" fmla="*/ 24 w 265"/>
                <a:gd name="T27" fmla="*/ 374 h 445"/>
                <a:gd name="T28" fmla="*/ 23 w 265"/>
                <a:gd name="T29" fmla="*/ 374 h 445"/>
                <a:gd name="T30" fmla="*/ 26 w 265"/>
                <a:gd name="T31" fmla="*/ 402 h 445"/>
                <a:gd name="T32" fmla="*/ 26 w 265"/>
                <a:gd name="T33" fmla="*/ 438 h 445"/>
                <a:gd name="T34" fmla="*/ 0 w 265"/>
                <a:gd name="T35" fmla="*/ 438 h 445"/>
                <a:gd name="T36" fmla="*/ 0 w 265"/>
                <a:gd name="T37"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5" h="445">
                  <a:moveTo>
                    <a:pt x="130" y="420"/>
                  </a:moveTo>
                  <a:cubicBezTo>
                    <a:pt x="190" y="420"/>
                    <a:pt x="238" y="369"/>
                    <a:pt x="238" y="281"/>
                  </a:cubicBezTo>
                  <a:cubicBezTo>
                    <a:pt x="238" y="197"/>
                    <a:pt x="194" y="143"/>
                    <a:pt x="133" y="143"/>
                  </a:cubicBezTo>
                  <a:cubicBezTo>
                    <a:pt x="77" y="143"/>
                    <a:pt x="25" y="184"/>
                    <a:pt x="25" y="282"/>
                  </a:cubicBezTo>
                  <a:cubicBezTo>
                    <a:pt x="25" y="351"/>
                    <a:pt x="59" y="420"/>
                    <a:pt x="130" y="420"/>
                  </a:cubicBezTo>
                  <a:moveTo>
                    <a:pt x="0" y="0"/>
                  </a:moveTo>
                  <a:cubicBezTo>
                    <a:pt x="26" y="0"/>
                    <a:pt x="26" y="0"/>
                    <a:pt x="26" y="0"/>
                  </a:cubicBezTo>
                  <a:cubicBezTo>
                    <a:pt x="26" y="163"/>
                    <a:pt x="26" y="163"/>
                    <a:pt x="26" y="163"/>
                  </a:cubicBezTo>
                  <a:cubicBezTo>
                    <a:pt x="26" y="177"/>
                    <a:pt x="23" y="188"/>
                    <a:pt x="23" y="188"/>
                  </a:cubicBezTo>
                  <a:cubicBezTo>
                    <a:pt x="24" y="188"/>
                    <a:pt x="24" y="188"/>
                    <a:pt x="24" y="188"/>
                  </a:cubicBezTo>
                  <a:cubicBezTo>
                    <a:pt x="24" y="188"/>
                    <a:pt x="50" y="117"/>
                    <a:pt x="134" y="117"/>
                  </a:cubicBezTo>
                  <a:cubicBezTo>
                    <a:pt x="215" y="117"/>
                    <a:pt x="265" y="185"/>
                    <a:pt x="265" y="281"/>
                  </a:cubicBezTo>
                  <a:cubicBezTo>
                    <a:pt x="265" y="381"/>
                    <a:pt x="208" y="445"/>
                    <a:pt x="129" y="445"/>
                  </a:cubicBezTo>
                  <a:cubicBezTo>
                    <a:pt x="53" y="445"/>
                    <a:pt x="24" y="374"/>
                    <a:pt x="24" y="374"/>
                  </a:cubicBezTo>
                  <a:cubicBezTo>
                    <a:pt x="23" y="374"/>
                    <a:pt x="23" y="374"/>
                    <a:pt x="23" y="374"/>
                  </a:cubicBezTo>
                  <a:cubicBezTo>
                    <a:pt x="23" y="374"/>
                    <a:pt x="26" y="386"/>
                    <a:pt x="26" y="402"/>
                  </a:cubicBezTo>
                  <a:cubicBezTo>
                    <a:pt x="26" y="438"/>
                    <a:pt x="26" y="438"/>
                    <a:pt x="26"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4" name="Freeform 23">
              <a:extLst>
                <a:ext uri="{FF2B5EF4-FFF2-40B4-BE49-F238E27FC236}">
                  <a16:creationId xmlns:a16="http://schemas.microsoft.com/office/drawing/2014/main" id="{9462A6F5-73DA-7C45-9F62-88B1E4A7A036}"/>
                </a:ext>
              </a:extLst>
            </p:cNvPr>
            <p:cNvSpPr>
              <a:spLocks/>
            </p:cNvSpPr>
            <p:nvPr userDrawn="1"/>
          </p:nvSpPr>
          <p:spPr bwMode="auto">
            <a:xfrm>
              <a:off x="8070851" y="665163"/>
              <a:ext cx="536575" cy="844550"/>
            </a:xfrm>
            <a:custGeom>
              <a:avLst/>
              <a:gdLst>
                <a:gd name="T0" fmla="*/ 12 w 282"/>
                <a:gd name="T1" fmla="*/ 404 h 444"/>
                <a:gd name="T2" fmla="*/ 49 w 282"/>
                <a:gd name="T3" fmla="*/ 419 h 444"/>
                <a:gd name="T4" fmla="*/ 109 w 282"/>
                <a:gd name="T5" fmla="*/ 363 h 444"/>
                <a:gd name="T6" fmla="*/ 131 w 282"/>
                <a:gd name="T7" fmla="*/ 311 h 444"/>
                <a:gd name="T8" fmla="*/ 5 w 282"/>
                <a:gd name="T9" fmla="*/ 0 h 444"/>
                <a:gd name="T10" fmla="*/ 32 w 282"/>
                <a:gd name="T11" fmla="*/ 0 h 444"/>
                <a:gd name="T12" fmla="*/ 132 w 282"/>
                <a:gd name="T13" fmla="*/ 250 h 444"/>
                <a:gd name="T14" fmla="*/ 143 w 282"/>
                <a:gd name="T15" fmla="*/ 279 h 444"/>
                <a:gd name="T16" fmla="*/ 144 w 282"/>
                <a:gd name="T17" fmla="*/ 279 h 444"/>
                <a:gd name="T18" fmla="*/ 155 w 282"/>
                <a:gd name="T19" fmla="*/ 250 h 444"/>
                <a:gd name="T20" fmla="*/ 255 w 282"/>
                <a:gd name="T21" fmla="*/ 0 h 444"/>
                <a:gd name="T22" fmla="*/ 282 w 282"/>
                <a:gd name="T23" fmla="*/ 0 h 444"/>
                <a:gd name="T24" fmla="*/ 126 w 282"/>
                <a:gd name="T25" fmla="*/ 386 h 444"/>
                <a:gd name="T26" fmla="*/ 49 w 282"/>
                <a:gd name="T27" fmla="*/ 444 h 444"/>
                <a:gd name="T28" fmla="*/ 0 w 282"/>
                <a:gd name="T29" fmla="*/ 426 h 444"/>
                <a:gd name="T30" fmla="*/ 12 w 282"/>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444">
                  <a:moveTo>
                    <a:pt x="12" y="404"/>
                  </a:moveTo>
                  <a:cubicBezTo>
                    <a:pt x="12" y="404"/>
                    <a:pt x="29" y="419"/>
                    <a:pt x="49" y="419"/>
                  </a:cubicBezTo>
                  <a:cubicBezTo>
                    <a:pt x="78" y="419"/>
                    <a:pt x="97" y="392"/>
                    <a:pt x="109" y="363"/>
                  </a:cubicBezTo>
                  <a:cubicBezTo>
                    <a:pt x="131" y="311"/>
                    <a:pt x="131" y="311"/>
                    <a:pt x="131" y="311"/>
                  </a:cubicBezTo>
                  <a:cubicBezTo>
                    <a:pt x="5" y="0"/>
                    <a:pt x="5" y="0"/>
                    <a:pt x="5" y="0"/>
                  </a:cubicBezTo>
                  <a:cubicBezTo>
                    <a:pt x="32" y="0"/>
                    <a:pt x="32" y="0"/>
                    <a:pt x="32" y="0"/>
                  </a:cubicBezTo>
                  <a:cubicBezTo>
                    <a:pt x="132" y="250"/>
                    <a:pt x="132" y="250"/>
                    <a:pt x="132" y="250"/>
                  </a:cubicBezTo>
                  <a:cubicBezTo>
                    <a:pt x="138" y="264"/>
                    <a:pt x="143" y="279"/>
                    <a:pt x="143" y="279"/>
                  </a:cubicBezTo>
                  <a:cubicBezTo>
                    <a:pt x="144" y="279"/>
                    <a:pt x="144" y="279"/>
                    <a:pt x="144" y="279"/>
                  </a:cubicBezTo>
                  <a:cubicBezTo>
                    <a:pt x="144" y="279"/>
                    <a:pt x="149" y="264"/>
                    <a:pt x="155" y="250"/>
                  </a:cubicBezTo>
                  <a:cubicBezTo>
                    <a:pt x="255" y="0"/>
                    <a:pt x="255" y="0"/>
                    <a:pt x="255" y="0"/>
                  </a:cubicBezTo>
                  <a:cubicBezTo>
                    <a:pt x="282" y="0"/>
                    <a:pt x="282" y="0"/>
                    <a:pt x="282" y="0"/>
                  </a:cubicBezTo>
                  <a:cubicBezTo>
                    <a:pt x="126" y="386"/>
                    <a:pt x="126" y="386"/>
                    <a:pt x="126" y="386"/>
                  </a:cubicBezTo>
                  <a:cubicBezTo>
                    <a:pt x="113" y="418"/>
                    <a:pt x="88" y="444"/>
                    <a:pt x="49" y="444"/>
                  </a:cubicBezTo>
                  <a:cubicBezTo>
                    <a:pt x="20" y="444"/>
                    <a:pt x="0" y="426"/>
                    <a:pt x="0" y="426"/>
                  </a:cubicBezTo>
                  <a:lnTo>
                    <a:pt x="12"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5" name="Freeform 24">
              <a:extLst>
                <a:ext uri="{FF2B5EF4-FFF2-40B4-BE49-F238E27FC236}">
                  <a16:creationId xmlns:a16="http://schemas.microsoft.com/office/drawing/2014/main" id="{2957DAF8-5747-844F-A982-7406394F8DA0}"/>
                </a:ext>
              </a:extLst>
            </p:cNvPr>
            <p:cNvSpPr>
              <a:spLocks noEditPoints="1"/>
            </p:cNvSpPr>
            <p:nvPr userDrawn="1"/>
          </p:nvSpPr>
          <p:spPr bwMode="auto">
            <a:xfrm>
              <a:off x="8963026" y="644526"/>
              <a:ext cx="552450" cy="854075"/>
            </a:xfrm>
            <a:custGeom>
              <a:avLst/>
              <a:gdLst>
                <a:gd name="T0" fmla="*/ 143 w 291"/>
                <a:gd name="T1" fmla="*/ 279 h 449"/>
                <a:gd name="T2" fmla="*/ 231 w 291"/>
                <a:gd name="T3" fmla="*/ 166 h 449"/>
                <a:gd name="T4" fmla="*/ 145 w 291"/>
                <a:gd name="T5" fmla="*/ 53 h 449"/>
                <a:gd name="T6" fmla="*/ 57 w 291"/>
                <a:gd name="T7" fmla="*/ 167 h 449"/>
                <a:gd name="T8" fmla="*/ 143 w 291"/>
                <a:gd name="T9" fmla="*/ 279 h 449"/>
                <a:gd name="T10" fmla="*/ 0 w 291"/>
                <a:gd name="T11" fmla="*/ 7 h 449"/>
                <a:gd name="T12" fmla="*/ 54 w 291"/>
                <a:gd name="T13" fmla="*/ 7 h 449"/>
                <a:gd name="T14" fmla="*/ 54 w 291"/>
                <a:gd name="T15" fmla="*/ 34 h 449"/>
                <a:gd name="T16" fmla="*/ 52 w 291"/>
                <a:gd name="T17" fmla="*/ 57 h 449"/>
                <a:gd name="T18" fmla="*/ 54 w 291"/>
                <a:gd name="T19" fmla="*/ 57 h 449"/>
                <a:gd name="T20" fmla="*/ 156 w 291"/>
                <a:gd name="T21" fmla="*/ 0 h 449"/>
                <a:gd name="T22" fmla="*/ 291 w 291"/>
                <a:gd name="T23" fmla="*/ 165 h 449"/>
                <a:gd name="T24" fmla="*/ 152 w 291"/>
                <a:gd name="T25" fmla="*/ 331 h 449"/>
                <a:gd name="T26" fmla="*/ 58 w 291"/>
                <a:gd name="T27" fmla="*/ 279 h 449"/>
                <a:gd name="T28" fmla="*/ 57 w 291"/>
                <a:gd name="T29" fmla="*/ 279 h 449"/>
                <a:gd name="T30" fmla="*/ 58 w 291"/>
                <a:gd name="T31" fmla="*/ 307 h 449"/>
                <a:gd name="T32" fmla="*/ 58 w 291"/>
                <a:gd name="T33" fmla="*/ 449 h 449"/>
                <a:gd name="T34" fmla="*/ 0 w 291"/>
                <a:gd name="T35" fmla="*/ 449 h 449"/>
                <a:gd name="T36" fmla="*/ 0 w 291"/>
                <a:gd name="T37" fmla="*/ 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449">
                  <a:moveTo>
                    <a:pt x="143" y="279"/>
                  </a:moveTo>
                  <a:cubicBezTo>
                    <a:pt x="192" y="279"/>
                    <a:pt x="231" y="238"/>
                    <a:pt x="231" y="166"/>
                  </a:cubicBezTo>
                  <a:cubicBezTo>
                    <a:pt x="231" y="97"/>
                    <a:pt x="196" y="53"/>
                    <a:pt x="145" y="53"/>
                  </a:cubicBezTo>
                  <a:cubicBezTo>
                    <a:pt x="99" y="53"/>
                    <a:pt x="57" y="86"/>
                    <a:pt x="57" y="167"/>
                  </a:cubicBezTo>
                  <a:cubicBezTo>
                    <a:pt x="57" y="223"/>
                    <a:pt x="87" y="279"/>
                    <a:pt x="143" y="279"/>
                  </a:cubicBezTo>
                  <a:moveTo>
                    <a:pt x="0" y="7"/>
                  </a:moveTo>
                  <a:cubicBezTo>
                    <a:pt x="54" y="7"/>
                    <a:pt x="54" y="7"/>
                    <a:pt x="54" y="7"/>
                  </a:cubicBezTo>
                  <a:cubicBezTo>
                    <a:pt x="54" y="34"/>
                    <a:pt x="54" y="34"/>
                    <a:pt x="54" y="34"/>
                  </a:cubicBezTo>
                  <a:cubicBezTo>
                    <a:pt x="54" y="47"/>
                    <a:pt x="52" y="57"/>
                    <a:pt x="52" y="57"/>
                  </a:cubicBezTo>
                  <a:cubicBezTo>
                    <a:pt x="54" y="57"/>
                    <a:pt x="54" y="57"/>
                    <a:pt x="54" y="57"/>
                  </a:cubicBezTo>
                  <a:cubicBezTo>
                    <a:pt x="54" y="57"/>
                    <a:pt x="80" y="0"/>
                    <a:pt x="156" y="0"/>
                  </a:cubicBezTo>
                  <a:cubicBezTo>
                    <a:pt x="239" y="0"/>
                    <a:pt x="291" y="67"/>
                    <a:pt x="291" y="165"/>
                  </a:cubicBezTo>
                  <a:cubicBezTo>
                    <a:pt x="291" y="266"/>
                    <a:pt x="232" y="331"/>
                    <a:pt x="152" y="331"/>
                  </a:cubicBezTo>
                  <a:cubicBezTo>
                    <a:pt x="85" y="331"/>
                    <a:pt x="58" y="279"/>
                    <a:pt x="58" y="279"/>
                  </a:cubicBezTo>
                  <a:cubicBezTo>
                    <a:pt x="57" y="279"/>
                    <a:pt x="57" y="279"/>
                    <a:pt x="57" y="279"/>
                  </a:cubicBezTo>
                  <a:cubicBezTo>
                    <a:pt x="57" y="279"/>
                    <a:pt x="58" y="290"/>
                    <a:pt x="58" y="307"/>
                  </a:cubicBezTo>
                  <a:cubicBezTo>
                    <a:pt x="58" y="449"/>
                    <a:pt x="58" y="449"/>
                    <a:pt x="58" y="449"/>
                  </a:cubicBezTo>
                  <a:cubicBezTo>
                    <a:pt x="0" y="449"/>
                    <a:pt x="0" y="449"/>
                    <a:pt x="0" y="449"/>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6" name="Freeform 25">
              <a:extLst>
                <a:ext uri="{FF2B5EF4-FFF2-40B4-BE49-F238E27FC236}">
                  <a16:creationId xmlns:a16="http://schemas.microsoft.com/office/drawing/2014/main" id="{42C75442-1237-FE4F-8B6E-25EFB9720CFE}"/>
                </a:ext>
              </a:extLst>
            </p:cNvPr>
            <p:cNvSpPr>
              <a:spLocks noEditPoints="1"/>
            </p:cNvSpPr>
            <p:nvPr userDrawn="1"/>
          </p:nvSpPr>
          <p:spPr bwMode="auto">
            <a:xfrm>
              <a:off x="9561513" y="644526"/>
              <a:ext cx="485775" cy="630238"/>
            </a:xfrm>
            <a:custGeom>
              <a:avLst/>
              <a:gdLst>
                <a:gd name="T0" fmla="*/ 116 w 256"/>
                <a:gd name="T1" fmla="*/ 282 h 331"/>
                <a:gd name="T2" fmla="*/ 198 w 256"/>
                <a:gd name="T3" fmla="*/ 182 h 331"/>
                <a:gd name="T4" fmla="*/ 198 w 256"/>
                <a:gd name="T5" fmla="*/ 172 h 331"/>
                <a:gd name="T6" fmla="*/ 183 w 256"/>
                <a:gd name="T7" fmla="*/ 172 h 331"/>
                <a:gd name="T8" fmla="*/ 59 w 256"/>
                <a:gd name="T9" fmla="*/ 232 h 331"/>
                <a:gd name="T10" fmla="*/ 116 w 256"/>
                <a:gd name="T11" fmla="*/ 282 h 331"/>
                <a:gd name="T12" fmla="*/ 184 w 256"/>
                <a:gd name="T13" fmla="*/ 126 h 331"/>
                <a:gd name="T14" fmla="*/ 198 w 256"/>
                <a:gd name="T15" fmla="*/ 126 h 331"/>
                <a:gd name="T16" fmla="*/ 198 w 256"/>
                <a:gd name="T17" fmla="*/ 120 h 331"/>
                <a:gd name="T18" fmla="*/ 130 w 256"/>
                <a:gd name="T19" fmla="*/ 51 h 331"/>
                <a:gd name="T20" fmla="*/ 45 w 256"/>
                <a:gd name="T21" fmla="*/ 82 h 331"/>
                <a:gd name="T22" fmla="*/ 21 w 256"/>
                <a:gd name="T23" fmla="*/ 37 h 331"/>
                <a:gd name="T24" fmla="*/ 135 w 256"/>
                <a:gd name="T25" fmla="*/ 0 h 331"/>
                <a:gd name="T26" fmla="*/ 256 w 256"/>
                <a:gd name="T27" fmla="*/ 124 h 331"/>
                <a:gd name="T28" fmla="*/ 256 w 256"/>
                <a:gd name="T29" fmla="*/ 324 h 331"/>
                <a:gd name="T30" fmla="*/ 202 w 256"/>
                <a:gd name="T31" fmla="*/ 324 h 331"/>
                <a:gd name="T32" fmla="*/ 202 w 256"/>
                <a:gd name="T33" fmla="*/ 294 h 331"/>
                <a:gd name="T34" fmla="*/ 203 w 256"/>
                <a:gd name="T35" fmla="*/ 269 h 331"/>
                <a:gd name="T36" fmla="*/ 202 w 256"/>
                <a:gd name="T37" fmla="*/ 269 h 331"/>
                <a:gd name="T38" fmla="*/ 104 w 256"/>
                <a:gd name="T39" fmla="*/ 331 h 331"/>
                <a:gd name="T40" fmla="*/ 0 w 256"/>
                <a:gd name="T41" fmla="*/ 235 h 331"/>
                <a:gd name="T42" fmla="*/ 184 w 256"/>
                <a:gd name="T4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6" h="331">
                  <a:moveTo>
                    <a:pt x="116" y="282"/>
                  </a:moveTo>
                  <a:cubicBezTo>
                    <a:pt x="166" y="282"/>
                    <a:pt x="198" y="229"/>
                    <a:pt x="198" y="182"/>
                  </a:cubicBezTo>
                  <a:cubicBezTo>
                    <a:pt x="198" y="172"/>
                    <a:pt x="198" y="172"/>
                    <a:pt x="198" y="172"/>
                  </a:cubicBezTo>
                  <a:cubicBezTo>
                    <a:pt x="183" y="172"/>
                    <a:pt x="183" y="172"/>
                    <a:pt x="183" y="172"/>
                  </a:cubicBezTo>
                  <a:cubicBezTo>
                    <a:pt x="139" y="172"/>
                    <a:pt x="59" y="175"/>
                    <a:pt x="59" y="232"/>
                  </a:cubicBezTo>
                  <a:cubicBezTo>
                    <a:pt x="59" y="257"/>
                    <a:pt x="78" y="282"/>
                    <a:pt x="116" y="282"/>
                  </a:cubicBezTo>
                  <a:moveTo>
                    <a:pt x="184" y="126"/>
                  </a:moveTo>
                  <a:cubicBezTo>
                    <a:pt x="198" y="126"/>
                    <a:pt x="198" y="126"/>
                    <a:pt x="198" y="126"/>
                  </a:cubicBezTo>
                  <a:cubicBezTo>
                    <a:pt x="198" y="120"/>
                    <a:pt x="198" y="120"/>
                    <a:pt x="198" y="120"/>
                  </a:cubicBezTo>
                  <a:cubicBezTo>
                    <a:pt x="198" y="68"/>
                    <a:pt x="169" y="51"/>
                    <a:pt x="130" y="51"/>
                  </a:cubicBezTo>
                  <a:cubicBezTo>
                    <a:pt x="83" y="51"/>
                    <a:pt x="45" y="82"/>
                    <a:pt x="45" y="82"/>
                  </a:cubicBezTo>
                  <a:cubicBezTo>
                    <a:pt x="21" y="37"/>
                    <a:pt x="21" y="37"/>
                    <a:pt x="21" y="37"/>
                  </a:cubicBezTo>
                  <a:cubicBezTo>
                    <a:pt x="21" y="37"/>
                    <a:pt x="65" y="0"/>
                    <a:pt x="135" y="0"/>
                  </a:cubicBezTo>
                  <a:cubicBezTo>
                    <a:pt x="213" y="0"/>
                    <a:pt x="256" y="44"/>
                    <a:pt x="256" y="124"/>
                  </a:cubicBezTo>
                  <a:cubicBezTo>
                    <a:pt x="256" y="324"/>
                    <a:pt x="256" y="324"/>
                    <a:pt x="256" y="324"/>
                  </a:cubicBezTo>
                  <a:cubicBezTo>
                    <a:pt x="202" y="324"/>
                    <a:pt x="202" y="324"/>
                    <a:pt x="202" y="324"/>
                  </a:cubicBezTo>
                  <a:cubicBezTo>
                    <a:pt x="202" y="294"/>
                    <a:pt x="202" y="294"/>
                    <a:pt x="202" y="294"/>
                  </a:cubicBezTo>
                  <a:cubicBezTo>
                    <a:pt x="202" y="279"/>
                    <a:pt x="203" y="269"/>
                    <a:pt x="203" y="269"/>
                  </a:cubicBezTo>
                  <a:cubicBezTo>
                    <a:pt x="202" y="269"/>
                    <a:pt x="202" y="269"/>
                    <a:pt x="202" y="269"/>
                  </a:cubicBezTo>
                  <a:cubicBezTo>
                    <a:pt x="202" y="269"/>
                    <a:pt x="177" y="331"/>
                    <a:pt x="104" y="331"/>
                  </a:cubicBezTo>
                  <a:cubicBezTo>
                    <a:pt x="51" y="331"/>
                    <a:pt x="0" y="298"/>
                    <a:pt x="0" y="235"/>
                  </a:cubicBezTo>
                  <a:cubicBezTo>
                    <a:pt x="0" y="130"/>
                    <a:pt x="133" y="126"/>
                    <a:pt x="184" y="126"/>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7" name="Freeform 26">
              <a:extLst>
                <a:ext uri="{FF2B5EF4-FFF2-40B4-BE49-F238E27FC236}">
                  <a16:creationId xmlns:a16="http://schemas.microsoft.com/office/drawing/2014/main" id="{A27649EF-7F0E-2D46-A482-B2DFF78EF6AF}"/>
                </a:ext>
              </a:extLst>
            </p:cNvPr>
            <p:cNvSpPr>
              <a:spLocks/>
            </p:cNvSpPr>
            <p:nvPr userDrawn="1"/>
          </p:nvSpPr>
          <p:spPr bwMode="auto">
            <a:xfrm>
              <a:off x="10104438" y="492126"/>
              <a:ext cx="338138" cy="773113"/>
            </a:xfrm>
            <a:custGeom>
              <a:avLst/>
              <a:gdLst>
                <a:gd name="T0" fmla="*/ 40 w 178"/>
                <a:gd name="T1" fmla="*/ 140 h 406"/>
                <a:gd name="T2" fmla="*/ 0 w 178"/>
                <a:gd name="T3" fmla="*/ 140 h 406"/>
                <a:gd name="T4" fmla="*/ 0 w 178"/>
                <a:gd name="T5" fmla="*/ 92 h 406"/>
                <a:gd name="T6" fmla="*/ 42 w 178"/>
                <a:gd name="T7" fmla="*/ 92 h 406"/>
                <a:gd name="T8" fmla="*/ 42 w 178"/>
                <a:gd name="T9" fmla="*/ 0 h 406"/>
                <a:gd name="T10" fmla="*/ 99 w 178"/>
                <a:gd name="T11" fmla="*/ 0 h 406"/>
                <a:gd name="T12" fmla="*/ 99 w 178"/>
                <a:gd name="T13" fmla="*/ 92 h 406"/>
                <a:gd name="T14" fmla="*/ 173 w 178"/>
                <a:gd name="T15" fmla="*/ 92 h 406"/>
                <a:gd name="T16" fmla="*/ 173 w 178"/>
                <a:gd name="T17" fmla="*/ 140 h 406"/>
                <a:gd name="T18" fmla="*/ 99 w 178"/>
                <a:gd name="T19" fmla="*/ 140 h 406"/>
                <a:gd name="T20" fmla="*/ 99 w 178"/>
                <a:gd name="T21" fmla="*/ 281 h 406"/>
                <a:gd name="T22" fmla="*/ 164 w 178"/>
                <a:gd name="T23" fmla="*/ 352 h 406"/>
                <a:gd name="T24" fmla="*/ 178 w 178"/>
                <a:gd name="T25" fmla="*/ 351 h 406"/>
                <a:gd name="T26" fmla="*/ 178 w 178"/>
                <a:gd name="T27" fmla="*/ 405 h 406"/>
                <a:gd name="T28" fmla="*/ 158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2" y="92"/>
                    <a:pt x="42" y="92"/>
                    <a:pt x="42" y="92"/>
                  </a:cubicBezTo>
                  <a:cubicBezTo>
                    <a:pt x="42" y="0"/>
                    <a:pt x="42" y="0"/>
                    <a:pt x="42" y="0"/>
                  </a:cubicBezTo>
                  <a:cubicBezTo>
                    <a:pt x="99" y="0"/>
                    <a:pt x="99" y="0"/>
                    <a:pt x="99" y="0"/>
                  </a:cubicBezTo>
                  <a:cubicBezTo>
                    <a:pt x="99" y="92"/>
                    <a:pt x="99" y="92"/>
                    <a:pt x="99" y="92"/>
                  </a:cubicBezTo>
                  <a:cubicBezTo>
                    <a:pt x="173" y="92"/>
                    <a:pt x="173" y="92"/>
                    <a:pt x="173" y="92"/>
                  </a:cubicBezTo>
                  <a:cubicBezTo>
                    <a:pt x="173" y="140"/>
                    <a:pt x="173" y="140"/>
                    <a:pt x="173" y="140"/>
                  </a:cubicBezTo>
                  <a:cubicBezTo>
                    <a:pt x="99" y="140"/>
                    <a:pt x="99" y="140"/>
                    <a:pt x="99" y="140"/>
                  </a:cubicBezTo>
                  <a:cubicBezTo>
                    <a:pt x="99" y="281"/>
                    <a:pt x="99" y="281"/>
                    <a:pt x="99" y="281"/>
                  </a:cubicBezTo>
                  <a:cubicBezTo>
                    <a:pt x="99" y="344"/>
                    <a:pt x="142" y="352"/>
                    <a:pt x="164" y="352"/>
                  </a:cubicBezTo>
                  <a:cubicBezTo>
                    <a:pt x="173" y="352"/>
                    <a:pt x="178" y="351"/>
                    <a:pt x="178" y="351"/>
                  </a:cubicBezTo>
                  <a:cubicBezTo>
                    <a:pt x="178" y="405"/>
                    <a:pt x="178" y="405"/>
                    <a:pt x="178" y="405"/>
                  </a:cubicBezTo>
                  <a:cubicBezTo>
                    <a:pt x="178" y="405"/>
                    <a:pt x="170" y="406"/>
                    <a:pt x="158"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8" name="Freeform 27">
              <a:extLst>
                <a:ext uri="{FF2B5EF4-FFF2-40B4-BE49-F238E27FC236}">
                  <a16:creationId xmlns:a16="http://schemas.microsoft.com/office/drawing/2014/main" id="{2D4D8BDE-B9B2-6047-B125-50C6D4D88715}"/>
                </a:ext>
              </a:extLst>
            </p:cNvPr>
            <p:cNvSpPr>
              <a:spLocks noEditPoints="1"/>
            </p:cNvSpPr>
            <p:nvPr userDrawn="1"/>
          </p:nvSpPr>
          <p:spPr bwMode="auto">
            <a:xfrm>
              <a:off x="10509251" y="419101"/>
              <a:ext cx="111125" cy="841375"/>
            </a:xfrm>
            <a:custGeom>
              <a:avLst/>
              <a:gdLst>
                <a:gd name="T0" fmla="*/ 1 w 70"/>
                <a:gd name="T1" fmla="*/ 150 h 530"/>
                <a:gd name="T2" fmla="*/ 70 w 70"/>
                <a:gd name="T3" fmla="*/ 150 h 530"/>
                <a:gd name="T4" fmla="*/ 70 w 70"/>
                <a:gd name="T5" fmla="*/ 530 h 530"/>
                <a:gd name="T6" fmla="*/ 1 w 70"/>
                <a:gd name="T7" fmla="*/ 530 h 530"/>
                <a:gd name="T8" fmla="*/ 1 w 70"/>
                <a:gd name="T9" fmla="*/ 150 h 530"/>
                <a:gd name="T10" fmla="*/ 0 w 70"/>
                <a:gd name="T11" fmla="*/ 0 h 530"/>
                <a:gd name="T12" fmla="*/ 70 w 70"/>
                <a:gd name="T13" fmla="*/ 0 h 530"/>
                <a:gd name="T14" fmla="*/ 70 w 70"/>
                <a:gd name="T15" fmla="*/ 75 h 530"/>
                <a:gd name="T16" fmla="*/ 0 w 70"/>
                <a:gd name="T17" fmla="*/ 75 h 530"/>
                <a:gd name="T18" fmla="*/ 0 w 70"/>
                <a:gd name="T19"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530">
                  <a:moveTo>
                    <a:pt x="1" y="150"/>
                  </a:moveTo>
                  <a:lnTo>
                    <a:pt x="70" y="150"/>
                  </a:lnTo>
                  <a:lnTo>
                    <a:pt x="70" y="530"/>
                  </a:lnTo>
                  <a:lnTo>
                    <a:pt x="1" y="530"/>
                  </a:lnTo>
                  <a:lnTo>
                    <a:pt x="1" y="150"/>
                  </a:lnTo>
                  <a:close/>
                  <a:moveTo>
                    <a:pt x="0" y="0"/>
                  </a:moveTo>
                  <a:lnTo>
                    <a:pt x="70" y="0"/>
                  </a:lnTo>
                  <a:lnTo>
                    <a:pt x="70" y="75"/>
                  </a:lnTo>
                  <a:lnTo>
                    <a:pt x="0" y="7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9" name="Freeform 28">
              <a:extLst>
                <a:ext uri="{FF2B5EF4-FFF2-40B4-BE49-F238E27FC236}">
                  <a16:creationId xmlns:a16="http://schemas.microsoft.com/office/drawing/2014/main" id="{2CE1DB71-C375-B646-A472-A2F18C8AD6C5}"/>
                </a:ext>
              </a:extLst>
            </p:cNvPr>
            <p:cNvSpPr>
              <a:spLocks noEditPoints="1"/>
            </p:cNvSpPr>
            <p:nvPr userDrawn="1"/>
          </p:nvSpPr>
          <p:spPr bwMode="auto">
            <a:xfrm>
              <a:off x="10712451" y="644526"/>
              <a:ext cx="542925" cy="630238"/>
            </a:xfrm>
            <a:custGeom>
              <a:avLst/>
              <a:gdLst>
                <a:gd name="T0" fmla="*/ 226 w 286"/>
                <a:gd name="T1" fmla="*/ 129 h 331"/>
                <a:gd name="T2" fmla="*/ 152 w 286"/>
                <a:gd name="T3" fmla="*/ 48 h 331"/>
                <a:gd name="T4" fmla="*/ 63 w 286"/>
                <a:gd name="T5" fmla="*/ 129 h 331"/>
                <a:gd name="T6" fmla="*/ 226 w 286"/>
                <a:gd name="T7" fmla="*/ 129 h 331"/>
                <a:gd name="T8" fmla="*/ 153 w 286"/>
                <a:gd name="T9" fmla="*/ 0 h 331"/>
                <a:gd name="T10" fmla="*/ 286 w 286"/>
                <a:gd name="T11" fmla="*/ 148 h 331"/>
                <a:gd name="T12" fmla="*/ 284 w 286"/>
                <a:gd name="T13" fmla="*/ 174 h 331"/>
                <a:gd name="T14" fmla="*/ 61 w 286"/>
                <a:gd name="T15" fmla="*/ 174 h 331"/>
                <a:gd name="T16" fmla="*/ 166 w 286"/>
                <a:gd name="T17" fmla="*/ 279 h 331"/>
                <a:gd name="T18" fmla="*/ 257 w 286"/>
                <a:gd name="T19" fmla="*/ 242 h 331"/>
                <a:gd name="T20" fmla="*/ 281 w 286"/>
                <a:gd name="T21" fmla="*/ 286 h 331"/>
                <a:gd name="T22" fmla="*/ 162 w 286"/>
                <a:gd name="T23" fmla="*/ 331 h 331"/>
                <a:gd name="T24" fmla="*/ 0 w 286"/>
                <a:gd name="T25" fmla="*/ 165 h 331"/>
                <a:gd name="T26" fmla="*/ 153 w 286"/>
                <a:gd name="T2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1">
                  <a:moveTo>
                    <a:pt x="226" y="129"/>
                  </a:moveTo>
                  <a:cubicBezTo>
                    <a:pt x="224" y="74"/>
                    <a:pt x="192" y="48"/>
                    <a:pt x="152" y="48"/>
                  </a:cubicBezTo>
                  <a:cubicBezTo>
                    <a:pt x="107" y="48"/>
                    <a:pt x="71" y="77"/>
                    <a:pt x="63" y="129"/>
                  </a:cubicBezTo>
                  <a:lnTo>
                    <a:pt x="226" y="129"/>
                  </a:lnTo>
                  <a:close/>
                  <a:moveTo>
                    <a:pt x="153" y="0"/>
                  </a:moveTo>
                  <a:cubicBezTo>
                    <a:pt x="240" y="0"/>
                    <a:pt x="286" y="66"/>
                    <a:pt x="286" y="148"/>
                  </a:cubicBezTo>
                  <a:cubicBezTo>
                    <a:pt x="286" y="156"/>
                    <a:pt x="284" y="174"/>
                    <a:pt x="284" y="174"/>
                  </a:cubicBezTo>
                  <a:cubicBezTo>
                    <a:pt x="61" y="174"/>
                    <a:pt x="61" y="174"/>
                    <a:pt x="61" y="174"/>
                  </a:cubicBezTo>
                  <a:cubicBezTo>
                    <a:pt x="64" y="244"/>
                    <a:pt x="112" y="279"/>
                    <a:pt x="166" y="279"/>
                  </a:cubicBezTo>
                  <a:cubicBezTo>
                    <a:pt x="219" y="279"/>
                    <a:pt x="257" y="242"/>
                    <a:pt x="257" y="242"/>
                  </a:cubicBezTo>
                  <a:cubicBezTo>
                    <a:pt x="281" y="286"/>
                    <a:pt x="281" y="286"/>
                    <a:pt x="281" y="286"/>
                  </a:cubicBezTo>
                  <a:cubicBezTo>
                    <a:pt x="281" y="286"/>
                    <a:pt x="236" y="331"/>
                    <a:pt x="162" y="331"/>
                  </a:cubicBezTo>
                  <a:cubicBezTo>
                    <a:pt x="66" y="331"/>
                    <a:pt x="0" y="259"/>
                    <a:pt x="0" y="165"/>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0" name="Freeform 29">
              <a:extLst>
                <a:ext uri="{FF2B5EF4-FFF2-40B4-BE49-F238E27FC236}">
                  <a16:creationId xmlns:a16="http://schemas.microsoft.com/office/drawing/2014/main" id="{207A6A63-E933-3445-9F77-FD4CC1A7BF43}"/>
                </a:ext>
              </a:extLst>
            </p:cNvPr>
            <p:cNvSpPr>
              <a:spLocks/>
            </p:cNvSpPr>
            <p:nvPr userDrawn="1"/>
          </p:nvSpPr>
          <p:spPr bwMode="auto">
            <a:xfrm>
              <a:off x="11350626" y="644526"/>
              <a:ext cx="527050" cy="615950"/>
            </a:xfrm>
            <a:custGeom>
              <a:avLst/>
              <a:gdLst>
                <a:gd name="T0" fmla="*/ 0 w 277"/>
                <a:gd name="T1" fmla="*/ 7 h 324"/>
                <a:gd name="T2" fmla="*/ 56 w 277"/>
                <a:gd name="T3" fmla="*/ 7 h 324"/>
                <a:gd name="T4" fmla="*/ 56 w 277"/>
                <a:gd name="T5" fmla="*/ 49 h 324"/>
                <a:gd name="T6" fmla="*/ 55 w 277"/>
                <a:gd name="T7" fmla="*/ 72 h 324"/>
                <a:gd name="T8" fmla="*/ 56 w 277"/>
                <a:gd name="T9" fmla="*/ 72 h 324"/>
                <a:gd name="T10" fmla="*/ 171 w 277"/>
                <a:gd name="T11" fmla="*/ 0 h 324"/>
                <a:gd name="T12" fmla="*/ 277 w 277"/>
                <a:gd name="T13" fmla="*/ 121 h 324"/>
                <a:gd name="T14" fmla="*/ 277 w 277"/>
                <a:gd name="T15" fmla="*/ 324 h 324"/>
                <a:gd name="T16" fmla="*/ 218 w 277"/>
                <a:gd name="T17" fmla="*/ 324 h 324"/>
                <a:gd name="T18" fmla="*/ 218 w 277"/>
                <a:gd name="T19" fmla="*/ 135 h 324"/>
                <a:gd name="T20" fmla="*/ 160 w 277"/>
                <a:gd name="T21" fmla="*/ 55 h 324"/>
                <a:gd name="T22" fmla="*/ 63 w 277"/>
                <a:gd name="T23" fmla="*/ 133 h 324"/>
                <a:gd name="T24" fmla="*/ 58 w 277"/>
                <a:gd name="T25" fmla="*/ 175 h 324"/>
                <a:gd name="T26" fmla="*/ 58 w 277"/>
                <a:gd name="T27" fmla="*/ 324 h 324"/>
                <a:gd name="T28" fmla="*/ 0 w 277"/>
                <a:gd name="T29" fmla="*/ 324 h 324"/>
                <a:gd name="T30" fmla="*/ 0 w 277"/>
                <a:gd name="T31" fmla="*/ 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7"/>
                  </a:moveTo>
                  <a:cubicBezTo>
                    <a:pt x="56" y="7"/>
                    <a:pt x="56" y="7"/>
                    <a:pt x="56" y="7"/>
                  </a:cubicBezTo>
                  <a:cubicBezTo>
                    <a:pt x="56" y="49"/>
                    <a:pt x="56" y="49"/>
                    <a:pt x="56" y="49"/>
                  </a:cubicBezTo>
                  <a:cubicBezTo>
                    <a:pt x="56" y="62"/>
                    <a:pt x="55" y="72"/>
                    <a:pt x="55" y="72"/>
                  </a:cubicBezTo>
                  <a:cubicBezTo>
                    <a:pt x="56" y="72"/>
                    <a:pt x="56" y="72"/>
                    <a:pt x="56" y="72"/>
                  </a:cubicBezTo>
                  <a:cubicBezTo>
                    <a:pt x="69" y="45"/>
                    <a:pt x="105" y="0"/>
                    <a:pt x="171" y="0"/>
                  </a:cubicBezTo>
                  <a:cubicBezTo>
                    <a:pt x="243" y="0"/>
                    <a:pt x="277" y="40"/>
                    <a:pt x="277" y="121"/>
                  </a:cubicBezTo>
                  <a:cubicBezTo>
                    <a:pt x="277" y="324"/>
                    <a:pt x="277" y="324"/>
                    <a:pt x="277" y="324"/>
                  </a:cubicBezTo>
                  <a:cubicBezTo>
                    <a:pt x="218" y="324"/>
                    <a:pt x="218" y="324"/>
                    <a:pt x="218" y="324"/>
                  </a:cubicBezTo>
                  <a:cubicBezTo>
                    <a:pt x="218" y="135"/>
                    <a:pt x="218" y="135"/>
                    <a:pt x="218" y="135"/>
                  </a:cubicBezTo>
                  <a:cubicBezTo>
                    <a:pt x="218" y="90"/>
                    <a:pt x="209" y="55"/>
                    <a:pt x="160" y="55"/>
                  </a:cubicBezTo>
                  <a:cubicBezTo>
                    <a:pt x="113" y="55"/>
                    <a:pt x="76" y="87"/>
                    <a:pt x="63" y="133"/>
                  </a:cubicBezTo>
                  <a:cubicBezTo>
                    <a:pt x="59" y="145"/>
                    <a:pt x="58" y="160"/>
                    <a:pt x="58" y="175"/>
                  </a:cubicBezTo>
                  <a:cubicBezTo>
                    <a:pt x="58" y="324"/>
                    <a:pt x="58" y="324"/>
                    <a:pt x="58" y="324"/>
                  </a:cubicBezTo>
                  <a:cubicBezTo>
                    <a:pt x="0" y="324"/>
                    <a:pt x="0" y="324"/>
                    <a:pt x="0" y="324"/>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1" name="Freeform 30">
              <a:extLst>
                <a:ext uri="{FF2B5EF4-FFF2-40B4-BE49-F238E27FC236}">
                  <a16:creationId xmlns:a16="http://schemas.microsoft.com/office/drawing/2014/main" id="{89D9AADC-0C85-004D-AA91-3506632E38C3}"/>
                </a:ext>
              </a:extLst>
            </p:cNvPr>
            <p:cNvSpPr>
              <a:spLocks/>
            </p:cNvSpPr>
            <p:nvPr userDrawn="1"/>
          </p:nvSpPr>
          <p:spPr bwMode="auto">
            <a:xfrm>
              <a:off x="11933238" y="492126"/>
              <a:ext cx="339725" cy="773113"/>
            </a:xfrm>
            <a:custGeom>
              <a:avLst/>
              <a:gdLst>
                <a:gd name="T0" fmla="*/ 40 w 178"/>
                <a:gd name="T1" fmla="*/ 140 h 406"/>
                <a:gd name="T2" fmla="*/ 0 w 178"/>
                <a:gd name="T3" fmla="*/ 140 h 406"/>
                <a:gd name="T4" fmla="*/ 0 w 178"/>
                <a:gd name="T5" fmla="*/ 92 h 406"/>
                <a:gd name="T6" fmla="*/ 41 w 178"/>
                <a:gd name="T7" fmla="*/ 92 h 406"/>
                <a:gd name="T8" fmla="*/ 41 w 178"/>
                <a:gd name="T9" fmla="*/ 0 h 406"/>
                <a:gd name="T10" fmla="*/ 98 w 178"/>
                <a:gd name="T11" fmla="*/ 0 h 406"/>
                <a:gd name="T12" fmla="*/ 98 w 178"/>
                <a:gd name="T13" fmla="*/ 92 h 406"/>
                <a:gd name="T14" fmla="*/ 172 w 178"/>
                <a:gd name="T15" fmla="*/ 92 h 406"/>
                <a:gd name="T16" fmla="*/ 172 w 178"/>
                <a:gd name="T17" fmla="*/ 140 h 406"/>
                <a:gd name="T18" fmla="*/ 98 w 178"/>
                <a:gd name="T19" fmla="*/ 140 h 406"/>
                <a:gd name="T20" fmla="*/ 98 w 178"/>
                <a:gd name="T21" fmla="*/ 281 h 406"/>
                <a:gd name="T22" fmla="*/ 164 w 178"/>
                <a:gd name="T23" fmla="*/ 352 h 406"/>
                <a:gd name="T24" fmla="*/ 178 w 178"/>
                <a:gd name="T25" fmla="*/ 351 h 406"/>
                <a:gd name="T26" fmla="*/ 178 w 178"/>
                <a:gd name="T27" fmla="*/ 405 h 406"/>
                <a:gd name="T28" fmla="*/ 157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1" y="92"/>
                    <a:pt x="41" y="92"/>
                    <a:pt x="41" y="92"/>
                  </a:cubicBezTo>
                  <a:cubicBezTo>
                    <a:pt x="41" y="0"/>
                    <a:pt x="41" y="0"/>
                    <a:pt x="41" y="0"/>
                  </a:cubicBezTo>
                  <a:cubicBezTo>
                    <a:pt x="98" y="0"/>
                    <a:pt x="98" y="0"/>
                    <a:pt x="98" y="0"/>
                  </a:cubicBezTo>
                  <a:cubicBezTo>
                    <a:pt x="98" y="92"/>
                    <a:pt x="98" y="92"/>
                    <a:pt x="98" y="92"/>
                  </a:cubicBezTo>
                  <a:cubicBezTo>
                    <a:pt x="172" y="92"/>
                    <a:pt x="172" y="92"/>
                    <a:pt x="172" y="92"/>
                  </a:cubicBezTo>
                  <a:cubicBezTo>
                    <a:pt x="172" y="140"/>
                    <a:pt x="172" y="140"/>
                    <a:pt x="172" y="140"/>
                  </a:cubicBezTo>
                  <a:cubicBezTo>
                    <a:pt x="98" y="140"/>
                    <a:pt x="98" y="140"/>
                    <a:pt x="98" y="140"/>
                  </a:cubicBezTo>
                  <a:cubicBezTo>
                    <a:pt x="98" y="281"/>
                    <a:pt x="98" y="281"/>
                    <a:pt x="98" y="281"/>
                  </a:cubicBezTo>
                  <a:cubicBezTo>
                    <a:pt x="98" y="344"/>
                    <a:pt x="141" y="352"/>
                    <a:pt x="164" y="352"/>
                  </a:cubicBezTo>
                  <a:cubicBezTo>
                    <a:pt x="172" y="352"/>
                    <a:pt x="178" y="351"/>
                    <a:pt x="178" y="351"/>
                  </a:cubicBezTo>
                  <a:cubicBezTo>
                    <a:pt x="178" y="405"/>
                    <a:pt x="178" y="405"/>
                    <a:pt x="178" y="405"/>
                  </a:cubicBezTo>
                  <a:cubicBezTo>
                    <a:pt x="178" y="405"/>
                    <a:pt x="169" y="406"/>
                    <a:pt x="157"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2" name="Freeform 31">
              <a:extLst>
                <a:ext uri="{FF2B5EF4-FFF2-40B4-BE49-F238E27FC236}">
                  <a16:creationId xmlns:a16="http://schemas.microsoft.com/office/drawing/2014/main" id="{1699F109-BD6B-B245-99D2-B7872F07E035}"/>
                </a:ext>
              </a:extLst>
            </p:cNvPr>
            <p:cNvSpPr>
              <a:spLocks/>
            </p:cNvSpPr>
            <p:nvPr userDrawn="1"/>
          </p:nvSpPr>
          <p:spPr bwMode="auto">
            <a:xfrm>
              <a:off x="12314238" y="644526"/>
              <a:ext cx="431800" cy="630238"/>
            </a:xfrm>
            <a:custGeom>
              <a:avLst/>
              <a:gdLst>
                <a:gd name="T0" fmla="*/ 28 w 227"/>
                <a:gd name="T1" fmla="*/ 242 h 331"/>
                <a:gd name="T2" fmla="*/ 116 w 227"/>
                <a:gd name="T3" fmla="*/ 279 h 331"/>
                <a:gd name="T4" fmla="*/ 167 w 227"/>
                <a:gd name="T5" fmla="*/ 239 h 331"/>
                <a:gd name="T6" fmla="*/ 10 w 227"/>
                <a:gd name="T7" fmla="*/ 90 h 331"/>
                <a:gd name="T8" fmla="*/ 120 w 227"/>
                <a:gd name="T9" fmla="*/ 0 h 331"/>
                <a:gd name="T10" fmla="*/ 219 w 227"/>
                <a:gd name="T11" fmla="*/ 35 h 331"/>
                <a:gd name="T12" fmla="*/ 195 w 227"/>
                <a:gd name="T13" fmla="*/ 80 h 331"/>
                <a:gd name="T14" fmla="*/ 120 w 227"/>
                <a:gd name="T15" fmla="*/ 52 h 331"/>
                <a:gd name="T16" fmla="*/ 70 w 227"/>
                <a:gd name="T17" fmla="*/ 91 h 331"/>
                <a:gd name="T18" fmla="*/ 227 w 227"/>
                <a:gd name="T19" fmla="*/ 239 h 331"/>
                <a:gd name="T20" fmla="*/ 116 w 227"/>
                <a:gd name="T21" fmla="*/ 331 h 331"/>
                <a:gd name="T22" fmla="*/ 0 w 227"/>
                <a:gd name="T23" fmla="*/ 285 h 331"/>
                <a:gd name="T24" fmla="*/ 28 w 227"/>
                <a:gd name="T25" fmla="*/ 24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1">
                  <a:moveTo>
                    <a:pt x="28" y="242"/>
                  </a:moveTo>
                  <a:cubicBezTo>
                    <a:pt x="28" y="242"/>
                    <a:pt x="63" y="279"/>
                    <a:pt x="116" y="279"/>
                  </a:cubicBezTo>
                  <a:cubicBezTo>
                    <a:pt x="142" y="279"/>
                    <a:pt x="167" y="265"/>
                    <a:pt x="167" y="239"/>
                  </a:cubicBezTo>
                  <a:cubicBezTo>
                    <a:pt x="167" y="181"/>
                    <a:pt x="10" y="193"/>
                    <a:pt x="10" y="90"/>
                  </a:cubicBezTo>
                  <a:cubicBezTo>
                    <a:pt x="10" y="32"/>
                    <a:pt x="59" y="0"/>
                    <a:pt x="120" y="0"/>
                  </a:cubicBezTo>
                  <a:cubicBezTo>
                    <a:pt x="188" y="0"/>
                    <a:pt x="219" y="35"/>
                    <a:pt x="219" y="35"/>
                  </a:cubicBezTo>
                  <a:cubicBezTo>
                    <a:pt x="195" y="80"/>
                    <a:pt x="195" y="80"/>
                    <a:pt x="195" y="80"/>
                  </a:cubicBezTo>
                  <a:cubicBezTo>
                    <a:pt x="195" y="80"/>
                    <a:pt x="168" y="52"/>
                    <a:pt x="120" y="52"/>
                  </a:cubicBezTo>
                  <a:cubicBezTo>
                    <a:pt x="94" y="52"/>
                    <a:pt x="70" y="63"/>
                    <a:pt x="70" y="91"/>
                  </a:cubicBezTo>
                  <a:cubicBezTo>
                    <a:pt x="70" y="148"/>
                    <a:pt x="227" y="135"/>
                    <a:pt x="227" y="239"/>
                  </a:cubicBezTo>
                  <a:cubicBezTo>
                    <a:pt x="227" y="292"/>
                    <a:pt x="183" y="331"/>
                    <a:pt x="116" y="331"/>
                  </a:cubicBezTo>
                  <a:cubicBezTo>
                    <a:pt x="41" y="331"/>
                    <a:pt x="0" y="285"/>
                    <a:pt x="0" y="285"/>
                  </a:cubicBezTo>
                  <a:lnTo>
                    <a:pt x="28"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3" name="Rectangle 32">
              <a:extLst>
                <a:ext uri="{FF2B5EF4-FFF2-40B4-BE49-F238E27FC236}">
                  <a16:creationId xmlns:a16="http://schemas.microsoft.com/office/drawing/2014/main" id="{FD8F3E0A-C4D2-4B43-866A-DB42AADB132B}"/>
                </a:ext>
              </a:extLst>
            </p:cNvPr>
            <p:cNvSpPr>
              <a:spLocks noChangeArrowheads="1"/>
            </p:cNvSpPr>
            <p:nvPr userDrawn="1"/>
          </p:nvSpPr>
          <p:spPr bwMode="auto">
            <a:xfrm>
              <a:off x="12846051" y="1136651"/>
              <a:ext cx="117475" cy="12382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4" name="Freeform 33">
              <a:extLst>
                <a:ext uri="{FF2B5EF4-FFF2-40B4-BE49-F238E27FC236}">
                  <a16:creationId xmlns:a16="http://schemas.microsoft.com/office/drawing/2014/main" id="{9719E57C-8E81-9244-B5A4-7AB3A0A7E646}"/>
                </a:ext>
              </a:extLst>
            </p:cNvPr>
            <p:cNvSpPr>
              <a:spLocks noEditPoints="1"/>
            </p:cNvSpPr>
            <p:nvPr userDrawn="1"/>
          </p:nvSpPr>
          <p:spPr bwMode="auto">
            <a:xfrm>
              <a:off x="3609976" y="1689101"/>
              <a:ext cx="654050" cy="833438"/>
            </a:xfrm>
            <a:custGeom>
              <a:avLst/>
              <a:gdLst>
                <a:gd name="T0" fmla="*/ 129 w 344"/>
                <a:gd name="T1" fmla="*/ 413 h 438"/>
                <a:gd name="T2" fmla="*/ 317 w 344"/>
                <a:gd name="T3" fmla="*/ 219 h 438"/>
                <a:gd name="T4" fmla="*/ 129 w 344"/>
                <a:gd name="T5" fmla="*/ 25 h 438"/>
                <a:gd name="T6" fmla="*/ 26 w 344"/>
                <a:gd name="T7" fmla="*/ 25 h 438"/>
                <a:gd name="T8" fmla="*/ 26 w 344"/>
                <a:gd name="T9" fmla="*/ 413 h 438"/>
                <a:gd name="T10" fmla="*/ 129 w 344"/>
                <a:gd name="T11" fmla="*/ 413 h 438"/>
                <a:gd name="T12" fmla="*/ 0 w 344"/>
                <a:gd name="T13" fmla="*/ 0 h 438"/>
                <a:gd name="T14" fmla="*/ 133 w 344"/>
                <a:gd name="T15" fmla="*/ 0 h 438"/>
                <a:gd name="T16" fmla="*/ 344 w 344"/>
                <a:gd name="T17" fmla="*/ 219 h 438"/>
                <a:gd name="T18" fmla="*/ 133 w 344"/>
                <a:gd name="T19" fmla="*/ 438 h 438"/>
                <a:gd name="T20" fmla="*/ 0 w 344"/>
                <a:gd name="T21" fmla="*/ 438 h 438"/>
                <a:gd name="T22" fmla="*/ 0 w 344"/>
                <a:gd name="T23"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 h="438">
                  <a:moveTo>
                    <a:pt x="129" y="413"/>
                  </a:moveTo>
                  <a:cubicBezTo>
                    <a:pt x="241" y="413"/>
                    <a:pt x="317" y="345"/>
                    <a:pt x="317" y="219"/>
                  </a:cubicBezTo>
                  <a:cubicBezTo>
                    <a:pt x="317" y="94"/>
                    <a:pt x="241" y="25"/>
                    <a:pt x="129" y="25"/>
                  </a:cubicBezTo>
                  <a:cubicBezTo>
                    <a:pt x="26" y="25"/>
                    <a:pt x="26" y="25"/>
                    <a:pt x="26" y="25"/>
                  </a:cubicBezTo>
                  <a:cubicBezTo>
                    <a:pt x="26" y="413"/>
                    <a:pt x="26" y="413"/>
                    <a:pt x="26" y="413"/>
                  </a:cubicBezTo>
                  <a:lnTo>
                    <a:pt x="129" y="413"/>
                  </a:lnTo>
                  <a:close/>
                  <a:moveTo>
                    <a:pt x="0" y="0"/>
                  </a:moveTo>
                  <a:cubicBezTo>
                    <a:pt x="133" y="0"/>
                    <a:pt x="133" y="0"/>
                    <a:pt x="133" y="0"/>
                  </a:cubicBezTo>
                  <a:cubicBezTo>
                    <a:pt x="259" y="0"/>
                    <a:pt x="344" y="80"/>
                    <a:pt x="344" y="219"/>
                  </a:cubicBezTo>
                  <a:cubicBezTo>
                    <a:pt x="344" y="359"/>
                    <a:pt x="259" y="438"/>
                    <a:pt x="133"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5" name="Freeform 34">
              <a:extLst>
                <a:ext uri="{FF2B5EF4-FFF2-40B4-BE49-F238E27FC236}">
                  <a16:creationId xmlns:a16="http://schemas.microsoft.com/office/drawing/2014/main" id="{FC7E2C9E-FF13-914A-888E-C631A573B4D9}"/>
                </a:ext>
              </a:extLst>
            </p:cNvPr>
            <p:cNvSpPr>
              <a:spLocks/>
            </p:cNvSpPr>
            <p:nvPr userDrawn="1"/>
          </p:nvSpPr>
          <p:spPr bwMode="auto">
            <a:xfrm>
              <a:off x="4398963" y="1924051"/>
              <a:ext cx="263525" cy="598488"/>
            </a:xfrm>
            <a:custGeom>
              <a:avLst/>
              <a:gdLst>
                <a:gd name="T0" fmla="*/ 0 w 139"/>
                <a:gd name="T1" fmla="*/ 2 h 315"/>
                <a:gd name="T2" fmla="*/ 25 w 139"/>
                <a:gd name="T3" fmla="*/ 2 h 315"/>
                <a:gd name="T4" fmla="*/ 25 w 139"/>
                <a:gd name="T5" fmla="*/ 62 h 315"/>
                <a:gd name="T6" fmla="*/ 23 w 139"/>
                <a:gd name="T7" fmla="*/ 87 h 315"/>
                <a:gd name="T8" fmla="*/ 24 w 139"/>
                <a:gd name="T9" fmla="*/ 87 h 315"/>
                <a:gd name="T10" fmla="*/ 121 w 139"/>
                <a:gd name="T11" fmla="*/ 0 h 315"/>
                <a:gd name="T12" fmla="*/ 139 w 139"/>
                <a:gd name="T13" fmla="*/ 2 h 315"/>
                <a:gd name="T14" fmla="*/ 139 w 139"/>
                <a:gd name="T15" fmla="*/ 28 h 315"/>
                <a:gd name="T16" fmla="*/ 125 w 139"/>
                <a:gd name="T17" fmla="*/ 27 h 315"/>
                <a:gd name="T18" fmla="*/ 34 w 139"/>
                <a:gd name="T19" fmla="*/ 114 h 315"/>
                <a:gd name="T20" fmla="*/ 25 w 139"/>
                <a:gd name="T21" fmla="*/ 180 h 315"/>
                <a:gd name="T22" fmla="*/ 25 w 139"/>
                <a:gd name="T23" fmla="*/ 315 h 315"/>
                <a:gd name="T24" fmla="*/ 0 w 139"/>
                <a:gd name="T25" fmla="*/ 315 h 315"/>
                <a:gd name="T26" fmla="*/ 0 w 139"/>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315">
                  <a:moveTo>
                    <a:pt x="0" y="2"/>
                  </a:moveTo>
                  <a:cubicBezTo>
                    <a:pt x="25" y="2"/>
                    <a:pt x="25" y="2"/>
                    <a:pt x="25" y="2"/>
                  </a:cubicBezTo>
                  <a:cubicBezTo>
                    <a:pt x="25" y="62"/>
                    <a:pt x="25" y="62"/>
                    <a:pt x="25" y="62"/>
                  </a:cubicBezTo>
                  <a:cubicBezTo>
                    <a:pt x="25" y="76"/>
                    <a:pt x="23" y="87"/>
                    <a:pt x="23" y="87"/>
                  </a:cubicBezTo>
                  <a:cubicBezTo>
                    <a:pt x="24" y="87"/>
                    <a:pt x="24" y="87"/>
                    <a:pt x="24" y="87"/>
                  </a:cubicBezTo>
                  <a:cubicBezTo>
                    <a:pt x="39" y="39"/>
                    <a:pt x="73" y="0"/>
                    <a:pt x="121" y="0"/>
                  </a:cubicBezTo>
                  <a:cubicBezTo>
                    <a:pt x="130" y="0"/>
                    <a:pt x="139" y="2"/>
                    <a:pt x="139" y="2"/>
                  </a:cubicBezTo>
                  <a:cubicBezTo>
                    <a:pt x="139" y="28"/>
                    <a:pt x="139" y="28"/>
                    <a:pt x="139" y="28"/>
                  </a:cubicBezTo>
                  <a:cubicBezTo>
                    <a:pt x="139" y="28"/>
                    <a:pt x="131" y="27"/>
                    <a:pt x="125" y="27"/>
                  </a:cubicBezTo>
                  <a:cubicBezTo>
                    <a:pt x="77" y="27"/>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6" name="Freeform 35">
              <a:extLst>
                <a:ext uri="{FF2B5EF4-FFF2-40B4-BE49-F238E27FC236}">
                  <a16:creationId xmlns:a16="http://schemas.microsoft.com/office/drawing/2014/main" id="{36B2EBB7-5A7D-5044-98C0-53FFFE64ADBE}"/>
                </a:ext>
              </a:extLst>
            </p:cNvPr>
            <p:cNvSpPr>
              <a:spLocks noEditPoints="1"/>
            </p:cNvSpPr>
            <p:nvPr userDrawn="1"/>
          </p:nvSpPr>
          <p:spPr bwMode="auto">
            <a:xfrm>
              <a:off x="4735513" y="1689101"/>
              <a:ext cx="57150" cy="833438"/>
            </a:xfrm>
            <a:custGeom>
              <a:avLst/>
              <a:gdLst>
                <a:gd name="T0" fmla="*/ 2 w 36"/>
                <a:gd name="T1" fmla="*/ 525 h 525"/>
                <a:gd name="T2" fmla="*/ 32 w 36"/>
                <a:gd name="T3" fmla="*/ 525 h 525"/>
                <a:gd name="T4" fmla="*/ 32 w 36"/>
                <a:gd name="T5" fmla="*/ 150 h 525"/>
                <a:gd name="T6" fmla="*/ 2 w 36"/>
                <a:gd name="T7" fmla="*/ 150 h 525"/>
                <a:gd name="T8" fmla="*/ 2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2" y="525"/>
                  </a:moveTo>
                  <a:lnTo>
                    <a:pt x="32" y="525"/>
                  </a:lnTo>
                  <a:lnTo>
                    <a:pt x="32" y="150"/>
                  </a:lnTo>
                  <a:lnTo>
                    <a:pt x="2" y="150"/>
                  </a:lnTo>
                  <a:lnTo>
                    <a:pt x="2"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7" name="Freeform 36">
              <a:extLst>
                <a:ext uri="{FF2B5EF4-FFF2-40B4-BE49-F238E27FC236}">
                  <a16:creationId xmlns:a16="http://schemas.microsoft.com/office/drawing/2014/main" id="{A1D585E0-1942-A940-9BAD-8387FBA15322}"/>
                </a:ext>
              </a:extLst>
            </p:cNvPr>
            <p:cNvSpPr>
              <a:spLocks/>
            </p:cNvSpPr>
            <p:nvPr userDrawn="1"/>
          </p:nvSpPr>
          <p:spPr bwMode="auto">
            <a:xfrm>
              <a:off x="4860926" y="1927226"/>
              <a:ext cx="496888" cy="595313"/>
            </a:xfrm>
            <a:custGeom>
              <a:avLst/>
              <a:gdLst>
                <a:gd name="T0" fmla="*/ 0 w 262"/>
                <a:gd name="T1" fmla="*/ 0 h 313"/>
                <a:gd name="T2" fmla="*/ 28 w 262"/>
                <a:gd name="T3" fmla="*/ 0 h 313"/>
                <a:gd name="T4" fmla="*/ 121 w 262"/>
                <a:gd name="T5" fmla="*/ 246 h 313"/>
                <a:gd name="T6" fmla="*/ 131 w 262"/>
                <a:gd name="T7" fmla="*/ 279 h 313"/>
                <a:gd name="T8" fmla="*/ 132 w 262"/>
                <a:gd name="T9" fmla="*/ 279 h 313"/>
                <a:gd name="T10" fmla="*/ 143 w 262"/>
                <a:gd name="T11" fmla="*/ 246 h 313"/>
                <a:gd name="T12" fmla="*/ 236 w 262"/>
                <a:gd name="T13" fmla="*/ 0 h 313"/>
                <a:gd name="T14" fmla="*/ 262 w 262"/>
                <a:gd name="T15" fmla="*/ 0 h 313"/>
                <a:gd name="T16" fmla="*/ 144 w 262"/>
                <a:gd name="T17" fmla="*/ 313 h 313"/>
                <a:gd name="T18" fmla="*/ 120 w 262"/>
                <a:gd name="T19" fmla="*/ 313 h 313"/>
                <a:gd name="T20" fmla="*/ 0 w 262"/>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313">
                  <a:moveTo>
                    <a:pt x="0" y="0"/>
                  </a:moveTo>
                  <a:cubicBezTo>
                    <a:pt x="28" y="0"/>
                    <a:pt x="28" y="0"/>
                    <a:pt x="28" y="0"/>
                  </a:cubicBezTo>
                  <a:cubicBezTo>
                    <a:pt x="121" y="246"/>
                    <a:pt x="121" y="246"/>
                    <a:pt x="121" y="246"/>
                  </a:cubicBezTo>
                  <a:cubicBezTo>
                    <a:pt x="126" y="260"/>
                    <a:pt x="131" y="279"/>
                    <a:pt x="131" y="279"/>
                  </a:cubicBezTo>
                  <a:cubicBezTo>
                    <a:pt x="132" y="279"/>
                    <a:pt x="132" y="279"/>
                    <a:pt x="132" y="279"/>
                  </a:cubicBezTo>
                  <a:cubicBezTo>
                    <a:pt x="132" y="279"/>
                    <a:pt x="137" y="260"/>
                    <a:pt x="143" y="246"/>
                  </a:cubicBezTo>
                  <a:cubicBezTo>
                    <a:pt x="236" y="0"/>
                    <a:pt x="236" y="0"/>
                    <a:pt x="236" y="0"/>
                  </a:cubicBezTo>
                  <a:cubicBezTo>
                    <a:pt x="262" y="0"/>
                    <a:pt x="262" y="0"/>
                    <a:pt x="262" y="0"/>
                  </a:cubicBezTo>
                  <a:cubicBezTo>
                    <a:pt x="144" y="313"/>
                    <a:pt x="144" y="313"/>
                    <a:pt x="144" y="313"/>
                  </a:cubicBezTo>
                  <a:cubicBezTo>
                    <a:pt x="120" y="313"/>
                    <a:pt x="120" y="313"/>
                    <a:pt x="120" y="313"/>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8" name="Freeform 37">
              <a:extLst>
                <a:ext uri="{FF2B5EF4-FFF2-40B4-BE49-F238E27FC236}">
                  <a16:creationId xmlns:a16="http://schemas.microsoft.com/office/drawing/2014/main" id="{ABED6FDB-4059-EF4B-973E-C1423E6CC0F7}"/>
                </a:ext>
              </a:extLst>
            </p:cNvPr>
            <p:cNvSpPr>
              <a:spLocks noEditPoints="1"/>
            </p:cNvSpPr>
            <p:nvPr userDrawn="1"/>
          </p:nvSpPr>
          <p:spPr bwMode="auto">
            <a:xfrm>
              <a:off x="5375276" y="1914526"/>
              <a:ext cx="512763" cy="623888"/>
            </a:xfrm>
            <a:custGeom>
              <a:avLst/>
              <a:gdLst>
                <a:gd name="T0" fmla="*/ 243 w 270"/>
                <a:gd name="T1" fmla="*/ 135 h 328"/>
                <a:gd name="T2" fmla="*/ 146 w 270"/>
                <a:gd name="T3" fmla="*/ 24 h 328"/>
                <a:gd name="T4" fmla="*/ 28 w 270"/>
                <a:gd name="T5" fmla="*/ 135 h 328"/>
                <a:gd name="T6" fmla="*/ 243 w 270"/>
                <a:gd name="T7" fmla="*/ 135 h 328"/>
                <a:gd name="T8" fmla="*/ 147 w 270"/>
                <a:gd name="T9" fmla="*/ 0 h 328"/>
                <a:gd name="T10" fmla="*/ 270 w 270"/>
                <a:gd name="T11" fmla="*/ 142 h 328"/>
                <a:gd name="T12" fmla="*/ 269 w 270"/>
                <a:gd name="T13" fmla="*/ 159 h 328"/>
                <a:gd name="T14" fmla="*/ 26 w 270"/>
                <a:gd name="T15" fmla="*/ 159 h 328"/>
                <a:gd name="T16" fmla="*/ 156 w 270"/>
                <a:gd name="T17" fmla="*/ 302 h 328"/>
                <a:gd name="T18" fmla="*/ 249 w 270"/>
                <a:gd name="T19" fmla="*/ 263 h 328"/>
                <a:gd name="T20" fmla="*/ 263 w 270"/>
                <a:gd name="T21" fmla="*/ 284 h 328"/>
                <a:gd name="T22" fmla="*/ 156 w 270"/>
                <a:gd name="T23" fmla="*/ 328 h 328"/>
                <a:gd name="T24" fmla="*/ 0 w 270"/>
                <a:gd name="T25" fmla="*/ 164 h 328"/>
                <a:gd name="T26" fmla="*/ 147 w 270"/>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0" h="328">
                  <a:moveTo>
                    <a:pt x="243" y="135"/>
                  </a:moveTo>
                  <a:cubicBezTo>
                    <a:pt x="240" y="59"/>
                    <a:pt x="196" y="24"/>
                    <a:pt x="146" y="24"/>
                  </a:cubicBezTo>
                  <a:cubicBezTo>
                    <a:pt x="90" y="24"/>
                    <a:pt x="39" y="62"/>
                    <a:pt x="28" y="135"/>
                  </a:cubicBezTo>
                  <a:lnTo>
                    <a:pt x="243" y="135"/>
                  </a:lnTo>
                  <a:close/>
                  <a:moveTo>
                    <a:pt x="147" y="0"/>
                  </a:moveTo>
                  <a:cubicBezTo>
                    <a:pt x="229" y="0"/>
                    <a:pt x="270" y="67"/>
                    <a:pt x="270" y="142"/>
                  </a:cubicBezTo>
                  <a:cubicBezTo>
                    <a:pt x="270" y="149"/>
                    <a:pt x="269" y="159"/>
                    <a:pt x="269" y="159"/>
                  </a:cubicBezTo>
                  <a:cubicBezTo>
                    <a:pt x="26" y="159"/>
                    <a:pt x="26" y="159"/>
                    <a:pt x="26" y="159"/>
                  </a:cubicBezTo>
                  <a:cubicBezTo>
                    <a:pt x="26" y="250"/>
                    <a:pt x="85" y="302"/>
                    <a:pt x="156" y="302"/>
                  </a:cubicBezTo>
                  <a:cubicBezTo>
                    <a:pt x="214" y="302"/>
                    <a:pt x="249" y="263"/>
                    <a:pt x="249" y="263"/>
                  </a:cubicBezTo>
                  <a:cubicBezTo>
                    <a:pt x="263" y="284"/>
                    <a:pt x="263" y="284"/>
                    <a:pt x="263" y="284"/>
                  </a:cubicBezTo>
                  <a:cubicBezTo>
                    <a:pt x="263" y="284"/>
                    <a:pt x="221" y="328"/>
                    <a:pt x="156" y="328"/>
                  </a:cubicBezTo>
                  <a:cubicBezTo>
                    <a:pt x="70" y="328"/>
                    <a:pt x="0" y="264"/>
                    <a:pt x="0" y="164"/>
                  </a:cubicBezTo>
                  <a:cubicBezTo>
                    <a:pt x="0" y="59"/>
                    <a:pt x="69"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9" name="Freeform 38">
              <a:extLst>
                <a:ext uri="{FF2B5EF4-FFF2-40B4-BE49-F238E27FC236}">
                  <a16:creationId xmlns:a16="http://schemas.microsoft.com/office/drawing/2014/main" id="{B12BFECD-FCB1-6C4A-A19F-265F8FED7FEF}"/>
                </a:ext>
              </a:extLst>
            </p:cNvPr>
            <p:cNvSpPr>
              <a:spLocks/>
            </p:cNvSpPr>
            <p:nvPr userDrawn="1"/>
          </p:nvSpPr>
          <p:spPr bwMode="auto">
            <a:xfrm>
              <a:off x="6003926" y="1914526"/>
              <a:ext cx="479425" cy="608013"/>
            </a:xfrm>
            <a:custGeom>
              <a:avLst/>
              <a:gdLst>
                <a:gd name="T0" fmla="*/ 0 w 252"/>
                <a:gd name="T1" fmla="*/ 7 h 320"/>
                <a:gd name="T2" fmla="*/ 25 w 252"/>
                <a:gd name="T3" fmla="*/ 7 h 320"/>
                <a:gd name="T4" fmla="*/ 25 w 252"/>
                <a:gd name="T5" fmla="*/ 62 h 320"/>
                <a:gd name="T6" fmla="*/ 23 w 252"/>
                <a:gd name="T7" fmla="*/ 88 h 320"/>
                <a:gd name="T8" fmla="*/ 24 w 252"/>
                <a:gd name="T9" fmla="*/ 88 h 320"/>
                <a:gd name="T10" fmla="*/ 152 w 252"/>
                <a:gd name="T11" fmla="*/ 0 h 320"/>
                <a:gd name="T12" fmla="*/ 252 w 252"/>
                <a:gd name="T13" fmla="*/ 122 h 320"/>
                <a:gd name="T14" fmla="*/ 252 w 252"/>
                <a:gd name="T15" fmla="*/ 320 h 320"/>
                <a:gd name="T16" fmla="*/ 227 w 252"/>
                <a:gd name="T17" fmla="*/ 320 h 320"/>
                <a:gd name="T18" fmla="*/ 227 w 252"/>
                <a:gd name="T19" fmla="*/ 131 h 320"/>
                <a:gd name="T20" fmla="*/ 152 w 252"/>
                <a:gd name="T21" fmla="*/ 26 h 320"/>
                <a:gd name="T22" fmla="*/ 30 w 252"/>
                <a:gd name="T23" fmla="*/ 125 h 320"/>
                <a:gd name="T24" fmla="*/ 25 w 252"/>
                <a:gd name="T25" fmla="*/ 168 h 320"/>
                <a:gd name="T26" fmla="*/ 25 w 252"/>
                <a:gd name="T27" fmla="*/ 320 h 320"/>
                <a:gd name="T28" fmla="*/ 0 w 252"/>
                <a:gd name="T29" fmla="*/ 320 h 320"/>
                <a:gd name="T30" fmla="*/ 0 w 252"/>
                <a:gd name="T31" fmla="*/ 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320">
                  <a:moveTo>
                    <a:pt x="0" y="7"/>
                  </a:moveTo>
                  <a:cubicBezTo>
                    <a:pt x="25" y="7"/>
                    <a:pt x="25" y="7"/>
                    <a:pt x="25" y="7"/>
                  </a:cubicBezTo>
                  <a:cubicBezTo>
                    <a:pt x="25" y="62"/>
                    <a:pt x="25" y="62"/>
                    <a:pt x="25" y="62"/>
                  </a:cubicBezTo>
                  <a:cubicBezTo>
                    <a:pt x="25" y="77"/>
                    <a:pt x="23" y="88"/>
                    <a:pt x="23" y="88"/>
                  </a:cubicBezTo>
                  <a:cubicBezTo>
                    <a:pt x="24" y="88"/>
                    <a:pt x="24" y="88"/>
                    <a:pt x="24" y="88"/>
                  </a:cubicBezTo>
                  <a:cubicBezTo>
                    <a:pt x="34" y="59"/>
                    <a:pt x="77" y="0"/>
                    <a:pt x="152" y="0"/>
                  </a:cubicBezTo>
                  <a:cubicBezTo>
                    <a:pt x="231" y="0"/>
                    <a:pt x="252" y="48"/>
                    <a:pt x="252" y="122"/>
                  </a:cubicBezTo>
                  <a:cubicBezTo>
                    <a:pt x="252" y="320"/>
                    <a:pt x="252" y="320"/>
                    <a:pt x="252" y="320"/>
                  </a:cubicBezTo>
                  <a:cubicBezTo>
                    <a:pt x="227" y="320"/>
                    <a:pt x="227" y="320"/>
                    <a:pt x="227" y="320"/>
                  </a:cubicBezTo>
                  <a:cubicBezTo>
                    <a:pt x="227" y="131"/>
                    <a:pt x="227" y="131"/>
                    <a:pt x="227" y="131"/>
                  </a:cubicBezTo>
                  <a:cubicBezTo>
                    <a:pt x="227" y="77"/>
                    <a:pt x="220" y="26"/>
                    <a:pt x="152" y="26"/>
                  </a:cubicBezTo>
                  <a:cubicBezTo>
                    <a:pt x="95" y="26"/>
                    <a:pt x="45" y="67"/>
                    <a:pt x="30" y="125"/>
                  </a:cubicBezTo>
                  <a:cubicBezTo>
                    <a:pt x="26" y="138"/>
                    <a:pt x="25" y="153"/>
                    <a:pt x="25" y="168"/>
                  </a:cubicBezTo>
                  <a:cubicBezTo>
                    <a:pt x="25" y="320"/>
                    <a:pt x="25" y="320"/>
                    <a:pt x="25" y="320"/>
                  </a:cubicBezTo>
                  <a:cubicBezTo>
                    <a:pt x="0" y="320"/>
                    <a:pt x="0" y="320"/>
                    <a:pt x="0" y="320"/>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0" name="Freeform 39">
              <a:extLst>
                <a:ext uri="{FF2B5EF4-FFF2-40B4-BE49-F238E27FC236}">
                  <a16:creationId xmlns:a16="http://schemas.microsoft.com/office/drawing/2014/main" id="{6235209C-5C66-8549-B245-1A297D730D86}"/>
                </a:ext>
              </a:extLst>
            </p:cNvPr>
            <p:cNvSpPr>
              <a:spLocks noEditPoints="1"/>
            </p:cNvSpPr>
            <p:nvPr userDrawn="1"/>
          </p:nvSpPr>
          <p:spPr bwMode="auto">
            <a:xfrm>
              <a:off x="6950076" y="1689101"/>
              <a:ext cx="501650" cy="849313"/>
            </a:xfrm>
            <a:custGeom>
              <a:avLst/>
              <a:gdLst>
                <a:gd name="T0" fmla="*/ 130 w 264"/>
                <a:gd name="T1" fmla="*/ 420 h 446"/>
                <a:gd name="T2" fmla="*/ 237 w 264"/>
                <a:gd name="T3" fmla="*/ 282 h 446"/>
                <a:gd name="T4" fmla="*/ 132 w 264"/>
                <a:gd name="T5" fmla="*/ 144 h 446"/>
                <a:gd name="T6" fmla="*/ 24 w 264"/>
                <a:gd name="T7" fmla="*/ 282 h 446"/>
                <a:gd name="T8" fmla="*/ 130 w 264"/>
                <a:gd name="T9" fmla="*/ 420 h 446"/>
                <a:gd name="T10" fmla="*/ 0 w 264"/>
                <a:gd name="T11" fmla="*/ 0 h 446"/>
                <a:gd name="T12" fmla="*/ 25 w 264"/>
                <a:gd name="T13" fmla="*/ 0 h 446"/>
                <a:gd name="T14" fmla="*/ 25 w 264"/>
                <a:gd name="T15" fmla="*/ 163 h 446"/>
                <a:gd name="T16" fmla="*/ 23 w 264"/>
                <a:gd name="T17" fmla="*/ 189 h 446"/>
                <a:gd name="T18" fmla="*/ 24 w 264"/>
                <a:gd name="T19" fmla="*/ 189 h 446"/>
                <a:gd name="T20" fmla="*/ 133 w 264"/>
                <a:gd name="T21" fmla="*/ 118 h 446"/>
                <a:gd name="T22" fmla="*/ 264 w 264"/>
                <a:gd name="T23" fmla="*/ 282 h 446"/>
                <a:gd name="T24" fmla="*/ 129 w 264"/>
                <a:gd name="T25" fmla="*/ 446 h 446"/>
                <a:gd name="T26" fmla="*/ 24 w 264"/>
                <a:gd name="T27" fmla="*/ 375 h 446"/>
                <a:gd name="T28" fmla="*/ 23 w 264"/>
                <a:gd name="T29" fmla="*/ 375 h 446"/>
                <a:gd name="T30" fmla="*/ 25 w 264"/>
                <a:gd name="T31" fmla="*/ 402 h 446"/>
                <a:gd name="T32" fmla="*/ 25 w 264"/>
                <a:gd name="T33" fmla="*/ 438 h 446"/>
                <a:gd name="T34" fmla="*/ 0 w 264"/>
                <a:gd name="T35" fmla="*/ 438 h 446"/>
                <a:gd name="T36" fmla="*/ 0 w 264"/>
                <a:gd name="T3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420"/>
                  </a:moveTo>
                  <a:cubicBezTo>
                    <a:pt x="189" y="420"/>
                    <a:pt x="237" y="369"/>
                    <a:pt x="237" y="282"/>
                  </a:cubicBezTo>
                  <a:cubicBezTo>
                    <a:pt x="237" y="197"/>
                    <a:pt x="194" y="144"/>
                    <a:pt x="132" y="144"/>
                  </a:cubicBezTo>
                  <a:cubicBezTo>
                    <a:pt x="77" y="144"/>
                    <a:pt x="24" y="184"/>
                    <a:pt x="24" y="282"/>
                  </a:cubicBezTo>
                  <a:cubicBezTo>
                    <a:pt x="24" y="352"/>
                    <a:pt x="59" y="420"/>
                    <a:pt x="130" y="420"/>
                  </a:cubicBezTo>
                  <a:moveTo>
                    <a:pt x="0" y="0"/>
                  </a:moveTo>
                  <a:cubicBezTo>
                    <a:pt x="25" y="0"/>
                    <a:pt x="25" y="0"/>
                    <a:pt x="25" y="0"/>
                  </a:cubicBezTo>
                  <a:cubicBezTo>
                    <a:pt x="25" y="163"/>
                    <a:pt x="25" y="163"/>
                    <a:pt x="25" y="163"/>
                  </a:cubicBezTo>
                  <a:cubicBezTo>
                    <a:pt x="25" y="177"/>
                    <a:pt x="23" y="189"/>
                    <a:pt x="23" y="189"/>
                  </a:cubicBezTo>
                  <a:cubicBezTo>
                    <a:pt x="24" y="189"/>
                    <a:pt x="24" y="189"/>
                    <a:pt x="24" y="189"/>
                  </a:cubicBezTo>
                  <a:cubicBezTo>
                    <a:pt x="24" y="189"/>
                    <a:pt x="50" y="118"/>
                    <a:pt x="133" y="118"/>
                  </a:cubicBezTo>
                  <a:cubicBezTo>
                    <a:pt x="215" y="118"/>
                    <a:pt x="264" y="185"/>
                    <a:pt x="264" y="282"/>
                  </a:cubicBezTo>
                  <a:cubicBezTo>
                    <a:pt x="264" y="381"/>
                    <a:pt x="208" y="446"/>
                    <a:pt x="129" y="446"/>
                  </a:cubicBezTo>
                  <a:cubicBezTo>
                    <a:pt x="52" y="446"/>
                    <a:pt x="24" y="375"/>
                    <a:pt x="24" y="375"/>
                  </a:cubicBezTo>
                  <a:cubicBezTo>
                    <a:pt x="23" y="375"/>
                    <a:pt x="23" y="375"/>
                    <a:pt x="23" y="375"/>
                  </a:cubicBezTo>
                  <a:cubicBezTo>
                    <a:pt x="23" y="375"/>
                    <a:pt x="25" y="386"/>
                    <a:pt x="25" y="402"/>
                  </a:cubicBezTo>
                  <a:cubicBezTo>
                    <a:pt x="25" y="438"/>
                    <a:pt x="25" y="438"/>
                    <a:pt x="25"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1" name="Freeform 40">
              <a:extLst>
                <a:ext uri="{FF2B5EF4-FFF2-40B4-BE49-F238E27FC236}">
                  <a16:creationId xmlns:a16="http://schemas.microsoft.com/office/drawing/2014/main" id="{92F848F2-171D-0846-BE55-E7B8233F05CB}"/>
                </a:ext>
              </a:extLst>
            </p:cNvPr>
            <p:cNvSpPr>
              <a:spLocks/>
            </p:cNvSpPr>
            <p:nvPr userDrawn="1"/>
          </p:nvSpPr>
          <p:spPr bwMode="auto">
            <a:xfrm>
              <a:off x="7459663" y="1927226"/>
              <a:ext cx="533400" cy="844550"/>
            </a:xfrm>
            <a:custGeom>
              <a:avLst/>
              <a:gdLst>
                <a:gd name="T0" fmla="*/ 11 w 281"/>
                <a:gd name="T1" fmla="*/ 404 h 444"/>
                <a:gd name="T2" fmla="*/ 49 w 281"/>
                <a:gd name="T3" fmla="*/ 419 h 444"/>
                <a:gd name="T4" fmla="*/ 108 w 281"/>
                <a:gd name="T5" fmla="*/ 363 h 444"/>
                <a:gd name="T6" fmla="*/ 130 w 281"/>
                <a:gd name="T7" fmla="*/ 311 h 444"/>
                <a:gd name="T8" fmla="*/ 5 w 281"/>
                <a:gd name="T9" fmla="*/ 0 h 444"/>
                <a:gd name="T10" fmla="*/ 32 w 281"/>
                <a:gd name="T11" fmla="*/ 0 h 444"/>
                <a:gd name="T12" fmla="*/ 132 w 281"/>
                <a:gd name="T13" fmla="*/ 250 h 444"/>
                <a:gd name="T14" fmla="*/ 143 w 281"/>
                <a:gd name="T15" fmla="*/ 279 h 444"/>
                <a:gd name="T16" fmla="*/ 144 w 281"/>
                <a:gd name="T17" fmla="*/ 279 h 444"/>
                <a:gd name="T18" fmla="*/ 154 w 281"/>
                <a:gd name="T19" fmla="*/ 250 h 444"/>
                <a:gd name="T20" fmla="*/ 254 w 281"/>
                <a:gd name="T21" fmla="*/ 0 h 444"/>
                <a:gd name="T22" fmla="*/ 281 w 281"/>
                <a:gd name="T23" fmla="*/ 0 h 444"/>
                <a:gd name="T24" fmla="*/ 126 w 281"/>
                <a:gd name="T25" fmla="*/ 386 h 444"/>
                <a:gd name="T26" fmla="*/ 49 w 281"/>
                <a:gd name="T27" fmla="*/ 444 h 444"/>
                <a:gd name="T28" fmla="*/ 0 w 281"/>
                <a:gd name="T29" fmla="*/ 427 h 444"/>
                <a:gd name="T30" fmla="*/ 11 w 281"/>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444">
                  <a:moveTo>
                    <a:pt x="11" y="404"/>
                  </a:moveTo>
                  <a:cubicBezTo>
                    <a:pt x="11" y="404"/>
                    <a:pt x="28" y="419"/>
                    <a:pt x="49" y="419"/>
                  </a:cubicBezTo>
                  <a:cubicBezTo>
                    <a:pt x="78" y="419"/>
                    <a:pt x="96" y="392"/>
                    <a:pt x="108" y="363"/>
                  </a:cubicBezTo>
                  <a:cubicBezTo>
                    <a:pt x="130" y="311"/>
                    <a:pt x="130" y="311"/>
                    <a:pt x="130" y="311"/>
                  </a:cubicBezTo>
                  <a:cubicBezTo>
                    <a:pt x="5" y="0"/>
                    <a:pt x="5" y="0"/>
                    <a:pt x="5" y="0"/>
                  </a:cubicBezTo>
                  <a:cubicBezTo>
                    <a:pt x="32" y="0"/>
                    <a:pt x="32" y="0"/>
                    <a:pt x="32" y="0"/>
                  </a:cubicBezTo>
                  <a:cubicBezTo>
                    <a:pt x="132" y="250"/>
                    <a:pt x="132" y="250"/>
                    <a:pt x="132" y="250"/>
                  </a:cubicBezTo>
                  <a:cubicBezTo>
                    <a:pt x="138" y="265"/>
                    <a:pt x="143" y="279"/>
                    <a:pt x="143" y="279"/>
                  </a:cubicBezTo>
                  <a:cubicBezTo>
                    <a:pt x="144" y="279"/>
                    <a:pt x="144" y="279"/>
                    <a:pt x="144" y="279"/>
                  </a:cubicBezTo>
                  <a:cubicBezTo>
                    <a:pt x="144" y="279"/>
                    <a:pt x="148" y="265"/>
                    <a:pt x="154" y="250"/>
                  </a:cubicBezTo>
                  <a:cubicBezTo>
                    <a:pt x="254" y="0"/>
                    <a:pt x="254" y="0"/>
                    <a:pt x="254" y="0"/>
                  </a:cubicBezTo>
                  <a:cubicBezTo>
                    <a:pt x="281" y="0"/>
                    <a:pt x="281" y="0"/>
                    <a:pt x="281" y="0"/>
                  </a:cubicBezTo>
                  <a:cubicBezTo>
                    <a:pt x="126" y="386"/>
                    <a:pt x="126" y="386"/>
                    <a:pt x="126" y="386"/>
                  </a:cubicBezTo>
                  <a:cubicBezTo>
                    <a:pt x="112" y="419"/>
                    <a:pt x="87" y="444"/>
                    <a:pt x="49" y="444"/>
                  </a:cubicBezTo>
                  <a:cubicBezTo>
                    <a:pt x="20" y="444"/>
                    <a:pt x="0" y="427"/>
                    <a:pt x="0" y="427"/>
                  </a:cubicBezTo>
                  <a:lnTo>
                    <a:pt x="11"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2" name="Freeform 41">
              <a:extLst>
                <a:ext uri="{FF2B5EF4-FFF2-40B4-BE49-F238E27FC236}">
                  <a16:creationId xmlns:a16="http://schemas.microsoft.com/office/drawing/2014/main" id="{8C62E18E-B580-F542-8378-C894CADF6515}"/>
                </a:ext>
              </a:extLst>
            </p:cNvPr>
            <p:cNvSpPr>
              <a:spLocks/>
            </p:cNvSpPr>
            <p:nvPr userDrawn="1"/>
          </p:nvSpPr>
          <p:spPr bwMode="auto">
            <a:xfrm>
              <a:off x="8301038" y="1906588"/>
              <a:ext cx="431800" cy="631825"/>
            </a:xfrm>
            <a:custGeom>
              <a:avLst/>
              <a:gdLst>
                <a:gd name="T0" fmla="*/ 29 w 227"/>
                <a:gd name="T1" fmla="*/ 242 h 332"/>
                <a:gd name="T2" fmla="*/ 117 w 227"/>
                <a:gd name="T3" fmla="*/ 279 h 332"/>
                <a:gd name="T4" fmla="*/ 167 w 227"/>
                <a:gd name="T5" fmla="*/ 240 h 332"/>
                <a:gd name="T6" fmla="*/ 10 w 227"/>
                <a:gd name="T7" fmla="*/ 90 h 332"/>
                <a:gd name="T8" fmla="*/ 121 w 227"/>
                <a:gd name="T9" fmla="*/ 0 h 332"/>
                <a:gd name="T10" fmla="*/ 220 w 227"/>
                <a:gd name="T11" fmla="*/ 35 h 332"/>
                <a:gd name="T12" fmla="*/ 196 w 227"/>
                <a:gd name="T13" fmla="*/ 81 h 332"/>
                <a:gd name="T14" fmla="*/ 120 w 227"/>
                <a:gd name="T15" fmla="*/ 53 h 332"/>
                <a:gd name="T16" fmla="*/ 70 w 227"/>
                <a:gd name="T17" fmla="*/ 91 h 332"/>
                <a:gd name="T18" fmla="*/ 227 w 227"/>
                <a:gd name="T19" fmla="*/ 240 h 332"/>
                <a:gd name="T20" fmla="*/ 117 w 227"/>
                <a:gd name="T21" fmla="*/ 332 h 332"/>
                <a:gd name="T22" fmla="*/ 0 w 227"/>
                <a:gd name="T23" fmla="*/ 285 h 332"/>
                <a:gd name="T24" fmla="*/ 29 w 227"/>
                <a:gd name="T25" fmla="*/ 24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2">
                  <a:moveTo>
                    <a:pt x="29" y="242"/>
                  </a:moveTo>
                  <a:cubicBezTo>
                    <a:pt x="29" y="242"/>
                    <a:pt x="63" y="279"/>
                    <a:pt x="117" y="279"/>
                  </a:cubicBezTo>
                  <a:cubicBezTo>
                    <a:pt x="142" y="279"/>
                    <a:pt x="167" y="265"/>
                    <a:pt x="167" y="240"/>
                  </a:cubicBezTo>
                  <a:cubicBezTo>
                    <a:pt x="167" y="181"/>
                    <a:pt x="10" y="193"/>
                    <a:pt x="10" y="90"/>
                  </a:cubicBezTo>
                  <a:cubicBezTo>
                    <a:pt x="10" y="33"/>
                    <a:pt x="60" y="0"/>
                    <a:pt x="121" y="0"/>
                  </a:cubicBezTo>
                  <a:cubicBezTo>
                    <a:pt x="188" y="0"/>
                    <a:pt x="220" y="35"/>
                    <a:pt x="220" y="35"/>
                  </a:cubicBezTo>
                  <a:cubicBezTo>
                    <a:pt x="196" y="81"/>
                    <a:pt x="196" y="81"/>
                    <a:pt x="196" y="81"/>
                  </a:cubicBezTo>
                  <a:cubicBezTo>
                    <a:pt x="196" y="81"/>
                    <a:pt x="169" y="53"/>
                    <a:pt x="120" y="53"/>
                  </a:cubicBezTo>
                  <a:cubicBezTo>
                    <a:pt x="95" y="53"/>
                    <a:pt x="70" y="64"/>
                    <a:pt x="70" y="91"/>
                  </a:cubicBezTo>
                  <a:cubicBezTo>
                    <a:pt x="70" y="148"/>
                    <a:pt x="227" y="136"/>
                    <a:pt x="227" y="240"/>
                  </a:cubicBezTo>
                  <a:cubicBezTo>
                    <a:pt x="227" y="292"/>
                    <a:pt x="184" y="332"/>
                    <a:pt x="117" y="332"/>
                  </a:cubicBezTo>
                  <a:cubicBezTo>
                    <a:pt x="42" y="332"/>
                    <a:pt x="0" y="285"/>
                    <a:pt x="0" y="285"/>
                  </a:cubicBezTo>
                  <a:lnTo>
                    <a:pt x="29"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3" name="Freeform 42">
              <a:extLst>
                <a:ext uri="{FF2B5EF4-FFF2-40B4-BE49-F238E27FC236}">
                  <a16:creationId xmlns:a16="http://schemas.microsoft.com/office/drawing/2014/main" id="{69A01FC3-AC97-914C-8DBD-BF17DA41BC7E}"/>
                </a:ext>
              </a:extLst>
            </p:cNvPr>
            <p:cNvSpPr>
              <a:spLocks/>
            </p:cNvSpPr>
            <p:nvPr userDrawn="1"/>
          </p:nvSpPr>
          <p:spPr bwMode="auto">
            <a:xfrm>
              <a:off x="8774113"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4" name="Freeform 43">
              <a:extLst>
                <a:ext uri="{FF2B5EF4-FFF2-40B4-BE49-F238E27FC236}">
                  <a16:creationId xmlns:a16="http://schemas.microsoft.com/office/drawing/2014/main" id="{C65B7BBA-0472-6146-96FF-6A096FAC068D}"/>
                </a:ext>
              </a:extLst>
            </p:cNvPr>
            <p:cNvSpPr>
              <a:spLocks noEditPoints="1"/>
            </p:cNvSpPr>
            <p:nvPr userDrawn="1"/>
          </p:nvSpPr>
          <p:spPr bwMode="auto">
            <a:xfrm>
              <a:off x="9388476" y="1682751"/>
              <a:ext cx="114300" cy="839788"/>
            </a:xfrm>
            <a:custGeom>
              <a:avLst/>
              <a:gdLst>
                <a:gd name="T0" fmla="*/ 1 w 72"/>
                <a:gd name="T1" fmla="*/ 150 h 529"/>
                <a:gd name="T2" fmla="*/ 72 w 72"/>
                <a:gd name="T3" fmla="*/ 150 h 529"/>
                <a:gd name="T4" fmla="*/ 72 w 72"/>
                <a:gd name="T5" fmla="*/ 529 h 529"/>
                <a:gd name="T6" fmla="*/ 1 w 72"/>
                <a:gd name="T7" fmla="*/ 529 h 529"/>
                <a:gd name="T8" fmla="*/ 1 w 72"/>
                <a:gd name="T9" fmla="*/ 150 h 529"/>
                <a:gd name="T10" fmla="*/ 0 w 72"/>
                <a:gd name="T11" fmla="*/ 0 h 529"/>
                <a:gd name="T12" fmla="*/ 72 w 72"/>
                <a:gd name="T13" fmla="*/ 0 h 529"/>
                <a:gd name="T14" fmla="*/ 72 w 72"/>
                <a:gd name="T15" fmla="*/ 74 h 529"/>
                <a:gd name="T16" fmla="*/ 0 w 72"/>
                <a:gd name="T17" fmla="*/ 74 h 529"/>
                <a:gd name="T18" fmla="*/ 0 w 72"/>
                <a:gd name="T19"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529">
                  <a:moveTo>
                    <a:pt x="1" y="150"/>
                  </a:moveTo>
                  <a:lnTo>
                    <a:pt x="72" y="150"/>
                  </a:lnTo>
                  <a:lnTo>
                    <a:pt x="72" y="529"/>
                  </a:lnTo>
                  <a:lnTo>
                    <a:pt x="1" y="529"/>
                  </a:lnTo>
                  <a:lnTo>
                    <a:pt x="1" y="150"/>
                  </a:lnTo>
                  <a:close/>
                  <a:moveTo>
                    <a:pt x="0" y="0"/>
                  </a:moveTo>
                  <a:lnTo>
                    <a:pt x="72" y="0"/>
                  </a:lnTo>
                  <a:lnTo>
                    <a:pt x="72" y="74"/>
                  </a:lnTo>
                  <a:lnTo>
                    <a:pt x="0" y="7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5" name="Freeform 44">
              <a:extLst>
                <a:ext uri="{FF2B5EF4-FFF2-40B4-BE49-F238E27FC236}">
                  <a16:creationId xmlns:a16="http://schemas.microsoft.com/office/drawing/2014/main" id="{933E1C73-D906-C24C-A550-A27CEBCD2B6D}"/>
                </a:ext>
              </a:extLst>
            </p:cNvPr>
            <p:cNvSpPr>
              <a:spLocks noEditPoints="1"/>
            </p:cNvSpPr>
            <p:nvPr userDrawn="1"/>
          </p:nvSpPr>
          <p:spPr bwMode="auto">
            <a:xfrm>
              <a:off x="9593263" y="1906588"/>
              <a:ext cx="541338" cy="631825"/>
            </a:xfrm>
            <a:custGeom>
              <a:avLst/>
              <a:gdLst>
                <a:gd name="T0" fmla="*/ 225 w 285"/>
                <a:gd name="T1" fmla="*/ 129 h 332"/>
                <a:gd name="T2" fmla="*/ 151 w 285"/>
                <a:gd name="T3" fmla="*/ 48 h 332"/>
                <a:gd name="T4" fmla="*/ 62 w 285"/>
                <a:gd name="T5" fmla="*/ 129 h 332"/>
                <a:gd name="T6" fmla="*/ 225 w 285"/>
                <a:gd name="T7" fmla="*/ 129 h 332"/>
                <a:gd name="T8" fmla="*/ 153 w 285"/>
                <a:gd name="T9" fmla="*/ 0 h 332"/>
                <a:gd name="T10" fmla="*/ 285 w 285"/>
                <a:gd name="T11" fmla="*/ 148 h 332"/>
                <a:gd name="T12" fmla="*/ 283 w 285"/>
                <a:gd name="T13" fmla="*/ 175 h 332"/>
                <a:gd name="T14" fmla="*/ 60 w 285"/>
                <a:gd name="T15" fmla="*/ 175 h 332"/>
                <a:gd name="T16" fmla="*/ 165 w 285"/>
                <a:gd name="T17" fmla="*/ 279 h 332"/>
                <a:gd name="T18" fmla="*/ 256 w 285"/>
                <a:gd name="T19" fmla="*/ 242 h 332"/>
                <a:gd name="T20" fmla="*/ 280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3" y="75"/>
                    <a:pt x="191" y="48"/>
                    <a:pt x="151" y="48"/>
                  </a:cubicBezTo>
                  <a:cubicBezTo>
                    <a:pt x="107" y="48"/>
                    <a:pt x="70" y="77"/>
                    <a:pt x="62" y="129"/>
                  </a:cubicBezTo>
                  <a:lnTo>
                    <a:pt x="225" y="129"/>
                  </a:lnTo>
                  <a:close/>
                  <a:moveTo>
                    <a:pt x="153" y="0"/>
                  </a:moveTo>
                  <a:cubicBezTo>
                    <a:pt x="239" y="0"/>
                    <a:pt x="285" y="66"/>
                    <a:pt x="285" y="148"/>
                  </a:cubicBezTo>
                  <a:cubicBezTo>
                    <a:pt x="285" y="156"/>
                    <a:pt x="283" y="175"/>
                    <a:pt x="283" y="175"/>
                  </a:cubicBezTo>
                  <a:cubicBezTo>
                    <a:pt x="60" y="175"/>
                    <a:pt x="60" y="175"/>
                    <a:pt x="60" y="175"/>
                  </a:cubicBezTo>
                  <a:cubicBezTo>
                    <a:pt x="63" y="244"/>
                    <a:pt x="111" y="279"/>
                    <a:pt x="165" y="279"/>
                  </a:cubicBezTo>
                  <a:cubicBezTo>
                    <a:pt x="218" y="279"/>
                    <a:pt x="256" y="242"/>
                    <a:pt x="256" y="242"/>
                  </a:cubicBezTo>
                  <a:cubicBezTo>
                    <a:pt x="280" y="287"/>
                    <a:pt x="280" y="287"/>
                    <a:pt x="280" y="287"/>
                  </a:cubicBezTo>
                  <a:cubicBezTo>
                    <a:pt x="280" y="287"/>
                    <a:pt x="235" y="332"/>
                    <a:pt x="162" y="332"/>
                  </a:cubicBezTo>
                  <a:cubicBezTo>
                    <a:pt x="65" y="332"/>
                    <a:pt x="0" y="260"/>
                    <a:pt x="0" y="166"/>
                  </a:cubicBezTo>
                  <a:cubicBezTo>
                    <a:pt x="0" y="65"/>
                    <a:pt x="65"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6" name="Freeform 45">
              <a:extLst>
                <a:ext uri="{FF2B5EF4-FFF2-40B4-BE49-F238E27FC236}">
                  <a16:creationId xmlns:a16="http://schemas.microsoft.com/office/drawing/2014/main" id="{F81D7A5B-4B98-EF45-885F-223D9D122214}"/>
                </a:ext>
              </a:extLst>
            </p:cNvPr>
            <p:cNvSpPr>
              <a:spLocks/>
            </p:cNvSpPr>
            <p:nvPr userDrawn="1"/>
          </p:nvSpPr>
          <p:spPr bwMode="auto">
            <a:xfrm>
              <a:off x="10229851" y="1906588"/>
              <a:ext cx="525463" cy="615950"/>
            </a:xfrm>
            <a:custGeom>
              <a:avLst/>
              <a:gdLst>
                <a:gd name="T0" fmla="*/ 0 w 277"/>
                <a:gd name="T1" fmla="*/ 8 h 324"/>
                <a:gd name="T2" fmla="*/ 57 w 277"/>
                <a:gd name="T3" fmla="*/ 8 h 324"/>
                <a:gd name="T4" fmla="*/ 57 w 277"/>
                <a:gd name="T5" fmla="*/ 50 h 324"/>
                <a:gd name="T6" fmla="*/ 56 w 277"/>
                <a:gd name="T7" fmla="*/ 73 h 324"/>
                <a:gd name="T8" fmla="*/ 57 w 277"/>
                <a:gd name="T9" fmla="*/ 73 h 324"/>
                <a:gd name="T10" fmla="*/ 172 w 277"/>
                <a:gd name="T11" fmla="*/ 0 h 324"/>
                <a:gd name="T12" fmla="*/ 277 w 277"/>
                <a:gd name="T13" fmla="*/ 122 h 324"/>
                <a:gd name="T14" fmla="*/ 277 w 277"/>
                <a:gd name="T15" fmla="*/ 324 h 324"/>
                <a:gd name="T16" fmla="*/ 218 w 277"/>
                <a:gd name="T17" fmla="*/ 324 h 324"/>
                <a:gd name="T18" fmla="*/ 218 w 277"/>
                <a:gd name="T19" fmla="*/ 135 h 324"/>
                <a:gd name="T20" fmla="*/ 160 w 277"/>
                <a:gd name="T21" fmla="*/ 56 h 324"/>
                <a:gd name="T22" fmla="*/ 63 w 277"/>
                <a:gd name="T23" fmla="*/ 133 h 324"/>
                <a:gd name="T24" fmla="*/ 59 w 277"/>
                <a:gd name="T25" fmla="*/ 176 h 324"/>
                <a:gd name="T26" fmla="*/ 59 w 277"/>
                <a:gd name="T27" fmla="*/ 324 h 324"/>
                <a:gd name="T28" fmla="*/ 0 w 277"/>
                <a:gd name="T29" fmla="*/ 324 h 324"/>
                <a:gd name="T30" fmla="*/ 0 w 277"/>
                <a:gd name="T31" fmla="*/ 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8"/>
                  </a:moveTo>
                  <a:cubicBezTo>
                    <a:pt x="57" y="8"/>
                    <a:pt x="57" y="8"/>
                    <a:pt x="57" y="8"/>
                  </a:cubicBezTo>
                  <a:cubicBezTo>
                    <a:pt x="57" y="50"/>
                    <a:pt x="57" y="50"/>
                    <a:pt x="57" y="50"/>
                  </a:cubicBezTo>
                  <a:cubicBezTo>
                    <a:pt x="57" y="62"/>
                    <a:pt x="56" y="73"/>
                    <a:pt x="56" y="73"/>
                  </a:cubicBezTo>
                  <a:cubicBezTo>
                    <a:pt x="57" y="73"/>
                    <a:pt x="57" y="73"/>
                    <a:pt x="57" y="73"/>
                  </a:cubicBezTo>
                  <a:cubicBezTo>
                    <a:pt x="69" y="45"/>
                    <a:pt x="105" y="0"/>
                    <a:pt x="172" y="0"/>
                  </a:cubicBezTo>
                  <a:cubicBezTo>
                    <a:pt x="244" y="0"/>
                    <a:pt x="277" y="41"/>
                    <a:pt x="277" y="122"/>
                  </a:cubicBezTo>
                  <a:cubicBezTo>
                    <a:pt x="277" y="324"/>
                    <a:pt x="277" y="324"/>
                    <a:pt x="277" y="324"/>
                  </a:cubicBezTo>
                  <a:cubicBezTo>
                    <a:pt x="218" y="324"/>
                    <a:pt x="218" y="324"/>
                    <a:pt x="218" y="324"/>
                  </a:cubicBezTo>
                  <a:cubicBezTo>
                    <a:pt x="218" y="135"/>
                    <a:pt x="218" y="135"/>
                    <a:pt x="218" y="135"/>
                  </a:cubicBezTo>
                  <a:cubicBezTo>
                    <a:pt x="218" y="91"/>
                    <a:pt x="209" y="56"/>
                    <a:pt x="160" y="56"/>
                  </a:cubicBezTo>
                  <a:cubicBezTo>
                    <a:pt x="114" y="56"/>
                    <a:pt x="76" y="88"/>
                    <a:pt x="63" y="133"/>
                  </a:cubicBezTo>
                  <a:cubicBezTo>
                    <a:pt x="60" y="146"/>
                    <a:pt x="59" y="160"/>
                    <a:pt x="59" y="176"/>
                  </a:cubicBezTo>
                  <a:cubicBezTo>
                    <a:pt x="59" y="324"/>
                    <a:pt x="59" y="324"/>
                    <a:pt x="59" y="324"/>
                  </a:cubicBezTo>
                  <a:cubicBezTo>
                    <a:pt x="0" y="324"/>
                    <a:pt x="0" y="324"/>
                    <a:pt x="0" y="324"/>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7" name="Freeform 46">
              <a:extLst>
                <a:ext uri="{FF2B5EF4-FFF2-40B4-BE49-F238E27FC236}">
                  <a16:creationId xmlns:a16="http://schemas.microsoft.com/office/drawing/2014/main" id="{D80D0D72-ADBC-2346-8A1E-DECCBFD63709}"/>
                </a:ext>
              </a:extLst>
            </p:cNvPr>
            <p:cNvSpPr>
              <a:spLocks/>
            </p:cNvSpPr>
            <p:nvPr userDrawn="1"/>
          </p:nvSpPr>
          <p:spPr bwMode="auto">
            <a:xfrm>
              <a:off x="10839451"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8" name="Freeform 47">
              <a:extLst>
                <a:ext uri="{FF2B5EF4-FFF2-40B4-BE49-F238E27FC236}">
                  <a16:creationId xmlns:a16="http://schemas.microsoft.com/office/drawing/2014/main" id="{3C012A48-104A-1343-B719-1C5763A293CB}"/>
                </a:ext>
              </a:extLst>
            </p:cNvPr>
            <p:cNvSpPr>
              <a:spLocks noEditPoints="1"/>
            </p:cNvSpPr>
            <p:nvPr userDrawn="1"/>
          </p:nvSpPr>
          <p:spPr bwMode="auto">
            <a:xfrm>
              <a:off x="11409363" y="1906588"/>
              <a:ext cx="541338" cy="631825"/>
            </a:xfrm>
            <a:custGeom>
              <a:avLst/>
              <a:gdLst>
                <a:gd name="T0" fmla="*/ 225 w 285"/>
                <a:gd name="T1" fmla="*/ 129 h 332"/>
                <a:gd name="T2" fmla="*/ 152 w 285"/>
                <a:gd name="T3" fmla="*/ 48 h 332"/>
                <a:gd name="T4" fmla="*/ 62 w 285"/>
                <a:gd name="T5" fmla="*/ 129 h 332"/>
                <a:gd name="T6" fmla="*/ 225 w 285"/>
                <a:gd name="T7" fmla="*/ 129 h 332"/>
                <a:gd name="T8" fmla="*/ 153 w 285"/>
                <a:gd name="T9" fmla="*/ 0 h 332"/>
                <a:gd name="T10" fmla="*/ 285 w 285"/>
                <a:gd name="T11" fmla="*/ 148 h 332"/>
                <a:gd name="T12" fmla="*/ 284 w 285"/>
                <a:gd name="T13" fmla="*/ 175 h 332"/>
                <a:gd name="T14" fmla="*/ 60 w 285"/>
                <a:gd name="T15" fmla="*/ 175 h 332"/>
                <a:gd name="T16" fmla="*/ 166 w 285"/>
                <a:gd name="T17" fmla="*/ 279 h 332"/>
                <a:gd name="T18" fmla="*/ 256 w 285"/>
                <a:gd name="T19" fmla="*/ 242 h 332"/>
                <a:gd name="T20" fmla="*/ 281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4" y="75"/>
                    <a:pt x="191" y="48"/>
                    <a:pt x="152" y="48"/>
                  </a:cubicBezTo>
                  <a:cubicBezTo>
                    <a:pt x="107" y="48"/>
                    <a:pt x="71" y="77"/>
                    <a:pt x="62" y="129"/>
                  </a:cubicBezTo>
                  <a:lnTo>
                    <a:pt x="225" y="129"/>
                  </a:lnTo>
                  <a:close/>
                  <a:moveTo>
                    <a:pt x="153" y="0"/>
                  </a:moveTo>
                  <a:cubicBezTo>
                    <a:pt x="239" y="0"/>
                    <a:pt x="285" y="66"/>
                    <a:pt x="285" y="148"/>
                  </a:cubicBezTo>
                  <a:cubicBezTo>
                    <a:pt x="285" y="156"/>
                    <a:pt x="284" y="175"/>
                    <a:pt x="284" y="175"/>
                  </a:cubicBezTo>
                  <a:cubicBezTo>
                    <a:pt x="60" y="175"/>
                    <a:pt x="60" y="175"/>
                    <a:pt x="60" y="175"/>
                  </a:cubicBezTo>
                  <a:cubicBezTo>
                    <a:pt x="63" y="244"/>
                    <a:pt x="111" y="279"/>
                    <a:pt x="166" y="279"/>
                  </a:cubicBezTo>
                  <a:cubicBezTo>
                    <a:pt x="218" y="279"/>
                    <a:pt x="256" y="242"/>
                    <a:pt x="256" y="242"/>
                  </a:cubicBezTo>
                  <a:cubicBezTo>
                    <a:pt x="281" y="287"/>
                    <a:pt x="281" y="287"/>
                    <a:pt x="281" y="287"/>
                  </a:cubicBezTo>
                  <a:cubicBezTo>
                    <a:pt x="281" y="287"/>
                    <a:pt x="235" y="332"/>
                    <a:pt x="162" y="332"/>
                  </a:cubicBezTo>
                  <a:cubicBezTo>
                    <a:pt x="66" y="332"/>
                    <a:pt x="0" y="260"/>
                    <a:pt x="0" y="166"/>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9" name="Rectangle 48">
              <a:extLst>
                <a:ext uri="{FF2B5EF4-FFF2-40B4-BE49-F238E27FC236}">
                  <a16:creationId xmlns:a16="http://schemas.microsoft.com/office/drawing/2014/main" id="{0EDE88ED-4F2C-7F48-9A84-74D66ADA9F98}"/>
                </a:ext>
              </a:extLst>
            </p:cNvPr>
            <p:cNvSpPr>
              <a:spLocks noChangeArrowheads="1"/>
            </p:cNvSpPr>
            <p:nvPr userDrawn="1"/>
          </p:nvSpPr>
          <p:spPr bwMode="auto">
            <a:xfrm>
              <a:off x="12044363" y="2401888"/>
              <a:ext cx="117475" cy="120650"/>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grpSp>
      <p:grpSp>
        <p:nvGrpSpPr>
          <p:cNvPr id="50" name="Group 49">
            <a:extLst>
              <a:ext uri="{FF2B5EF4-FFF2-40B4-BE49-F238E27FC236}">
                <a16:creationId xmlns:a16="http://schemas.microsoft.com/office/drawing/2014/main" id="{48F0C26E-B57F-2146-8076-293E03AE36F8}"/>
              </a:ext>
            </a:extLst>
          </p:cNvPr>
          <p:cNvGrpSpPr/>
          <p:nvPr/>
        </p:nvGrpSpPr>
        <p:grpSpPr>
          <a:xfrm rot="5400000">
            <a:off x="3313584" y="-1111608"/>
            <a:ext cx="230832" cy="3501854"/>
            <a:chOff x="0" y="1980381"/>
            <a:chExt cx="230832" cy="3501854"/>
          </a:xfrm>
        </p:grpSpPr>
        <p:sp>
          <p:nvSpPr>
            <p:cNvPr id="51" name="TextBox 50">
              <a:extLst>
                <a:ext uri="{FF2B5EF4-FFF2-40B4-BE49-F238E27FC236}">
                  <a16:creationId xmlns:a16="http://schemas.microsoft.com/office/drawing/2014/main" id="{777DE900-8C7D-184D-BA94-B8A4C8D7388C}"/>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52" name="Straight Connector 51">
              <a:extLst>
                <a:ext uri="{FF2B5EF4-FFF2-40B4-BE49-F238E27FC236}">
                  <a16:creationId xmlns:a16="http://schemas.microsoft.com/office/drawing/2014/main" id="{6512ABB3-7D15-1343-BB70-02FF5DBD1DAC}"/>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AA24C85-47A3-8249-9FD2-5BB3AF6F1000}"/>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35802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85800" y="1143000"/>
            <a:ext cx="5486400" cy="3086100"/>
          </a:xfrm>
          <a:prstGeom prst="rect">
            <a:avLst/>
          </a:prstGeom>
          <a:noFill/>
          <a:ln w="6350">
            <a:solidFill>
              <a:schemeClr val="tx2"/>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8" name="TextBox 7">
            <a:extLst>
              <a:ext uri="{FF2B5EF4-FFF2-40B4-BE49-F238E27FC236}">
                <a16:creationId xmlns:a16="http://schemas.microsoft.com/office/drawing/2014/main" id="{D6757E4B-D99C-0546-B0D6-60B09DF5AD5D}"/>
              </a:ext>
            </a:extLst>
          </p:cNvPr>
          <p:cNvSpPr txBox="1"/>
          <p:nvPr/>
        </p:nvSpPr>
        <p:spPr bwMode="gray">
          <a:xfrm>
            <a:off x="5775716" y="8649920"/>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r"/>
            <a:fld id="{6C5AF65D-6854-49AF-ABC5-48B5BA0EA842}" type="slidenum">
              <a:rPr lang="en-US" sz="800" smtClean="0">
                <a:solidFill>
                  <a:schemeClr val="tx1"/>
                </a:solidFill>
              </a:rPr>
              <a:pPr lvl="0" algn="r"/>
              <a:t>‹#›</a:t>
            </a:fld>
            <a:endParaRPr lang="en-US" sz="800">
              <a:solidFill>
                <a:schemeClr val="tx1"/>
              </a:solidFill>
            </a:endParaRPr>
          </a:p>
        </p:txBody>
      </p:sp>
      <p:grpSp>
        <p:nvGrpSpPr>
          <p:cNvPr id="9" name="Group 8">
            <a:extLst>
              <a:ext uri="{FF2B5EF4-FFF2-40B4-BE49-F238E27FC236}">
                <a16:creationId xmlns:a16="http://schemas.microsoft.com/office/drawing/2014/main" id="{883DCC1F-D640-E543-BA0D-F79BE72D30D1}"/>
              </a:ext>
            </a:extLst>
          </p:cNvPr>
          <p:cNvGrpSpPr/>
          <p:nvPr/>
        </p:nvGrpSpPr>
        <p:grpSpPr>
          <a:xfrm>
            <a:off x="685800" y="8594095"/>
            <a:ext cx="1579562" cy="304766"/>
            <a:chOff x="769938" y="419101"/>
            <a:chExt cx="12193588" cy="2352675"/>
          </a:xfrm>
          <a:solidFill>
            <a:schemeClr val="accent1"/>
          </a:solidFill>
        </p:grpSpPr>
        <p:sp>
          <p:nvSpPr>
            <p:cNvPr id="10" name="Freeform 9">
              <a:extLst>
                <a:ext uri="{FF2B5EF4-FFF2-40B4-BE49-F238E27FC236}">
                  <a16:creationId xmlns:a16="http://schemas.microsoft.com/office/drawing/2014/main" id="{6933A1D0-8F08-C244-B4C2-4467C483F2A8}"/>
                </a:ext>
              </a:extLst>
            </p:cNvPr>
            <p:cNvSpPr>
              <a:spLocks/>
            </p:cNvSpPr>
            <p:nvPr userDrawn="1"/>
          </p:nvSpPr>
          <p:spPr bwMode="auto">
            <a:xfrm>
              <a:off x="1946276" y="419101"/>
              <a:ext cx="858838" cy="889000"/>
            </a:xfrm>
            <a:custGeom>
              <a:avLst/>
              <a:gdLst>
                <a:gd name="T0" fmla="*/ 452 w 452"/>
                <a:gd name="T1" fmla="*/ 467 h 467"/>
                <a:gd name="T2" fmla="*/ 452 w 452"/>
                <a:gd name="T3" fmla="*/ 0 h 467"/>
                <a:gd name="T4" fmla="*/ 0 w 452"/>
                <a:gd name="T5" fmla="*/ 0 h 467"/>
                <a:gd name="T6" fmla="*/ 452 w 452"/>
                <a:gd name="T7" fmla="*/ 467 h 467"/>
              </a:gdLst>
              <a:ahLst/>
              <a:cxnLst>
                <a:cxn ang="0">
                  <a:pos x="T0" y="T1"/>
                </a:cxn>
                <a:cxn ang="0">
                  <a:pos x="T2" y="T3"/>
                </a:cxn>
                <a:cxn ang="0">
                  <a:pos x="T4" y="T5"/>
                </a:cxn>
                <a:cxn ang="0">
                  <a:pos x="T6" y="T7"/>
                </a:cxn>
              </a:cxnLst>
              <a:rect l="0" t="0" r="r" b="b"/>
              <a:pathLst>
                <a:path w="452" h="467">
                  <a:moveTo>
                    <a:pt x="452" y="467"/>
                  </a:moveTo>
                  <a:cubicBezTo>
                    <a:pt x="452" y="0"/>
                    <a:pt x="452" y="0"/>
                    <a:pt x="452" y="0"/>
                  </a:cubicBezTo>
                  <a:cubicBezTo>
                    <a:pt x="0" y="0"/>
                    <a:pt x="0" y="0"/>
                    <a:pt x="0" y="0"/>
                  </a:cubicBezTo>
                  <a:cubicBezTo>
                    <a:pt x="233" y="37"/>
                    <a:pt x="416" y="227"/>
                    <a:pt x="452"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1" name="Freeform 10">
              <a:extLst>
                <a:ext uri="{FF2B5EF4-FFF2-40B4-BE49-F238E27FC236}">
                  <a16:creationId xmlns:a16="http://schemas.microsoft.com/office/drawing/2014/main" id="{E5373322-FD7E-4948-BFD5-9EB65E9A5FC8}"/>
                </a:ext>
              </a:extLst>
            </p:cNvPr>
            <p:cNvSpPr>
              <a:spLocks/>
            </p:cNvSpPr>
            <p:nvPr userDrawn="1"/>
          </p:nvSpPr>
          <p:spPr bwMode="auto">
            <a:xfrm>
              <a:off x="769938" y="419101"/>
              <a:ext cx="858838" cy="889000"/>
            </a:xfrm>
            <a:custGeom>
              <a:avLst/>
              <a:gdLst>
                <a:gd name="T0" fmla="*/ 452 w 452"/>
                <a:gd name="T1" fmla="*/ 0 h 467"/>
                <a:gd name="T2" fmla="*/ 0 w 452"/>
                <a:gd name="T3" fmla="*/ 0 h 467"/>
                <a:gd name="T4" fmla="*/ 0 w 452"/>
                <a:gd name="T5" fmla="*/ 467 h 467"/>
                <a:gd name="T6" fmla="*/ 452 w 452"/>
                <a:gd name="T7" fmla="*/ 0 h 467"/>
              </a:gdLst>
              <a:ahLst/>
              <a:cxnLst>
                <a:cxn ang="0">
                  <a:pos x="T0" y="T1"/>
                </a:cxn>
                <a:cxn ang="0">
                  <a:pos x="T2" y="T3"/>
                </a:cxn>
                <a:cxn ang="0">
                  <a:pos x="T4" y="T5"/>
                </a:cxn>
                <a:cxn ang="0">
                  <a:pos x="T6" y="T7"/>
                </a:cxn>
              </a:cxnLst>
              <a:rect l="0" t="0" r="r" b="b"/>
              <a:pathLst>
                <a:path w="452" h="467">
                  <a:moveTo>
                    <a:pt x="452" y="0"/>
                  </a:moveTo>
                  <a:cubicBezTo>
                    <a:pt x="0" y="0"/>
                    <a:pt x="0" y="0"/>
                    <a:pt x="0" y="0"/>
                  </a:cubicBezTo>
                  <a:cubicBezTo>
                    <a:pt x="0" y="467"/>
                    <a:pt x="0" y="467"/>
                    <a:pt x="0" y="467"/>
                  </a:cubicBezTo>
                  <a:cubicBezTo>
                    <a:pt x="36" y="227"/>
                    <a:pt x="220" y="37"/>
                    <a:pt x="452"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2" name="Freeform 11">
              <a:extLst>
                <a:ext uri="{FF2B5EF4-FFF2-40B4-BE49-F238E27FC236}">
                  <a16:creationId xmlns:a16="http://schemas.microsoft.com/office/drawing/2014/main" id="{8F180469-BF14-4442-8303-FACDB471865F}"/>
                </a:ext>
              </a:extLst>
            </p:cNvPr>
            <p:cNvSpPr>
              <a:spLocks/>
            </p:cNvSpPr>
            <p:nvPr userDrawn="1"/>
          </p:nvSpPr>
          <p:spPr bwMode="auto">
            <a:xfrm>
              <a:off x="769938" y="1635126"/>
              <a:ext cx="858838" cy="890588"/>
            </a:xfrm>
            <a:custGeom>
              <a:avLst/>
              <a:gdLst>
                <a:gd name="T0" fmla="*/ 0 w 452"/>
                <a:gd name="T1" fmla="*/ 0 h 467"/>
                <a:gd name="T2" fmla="*/ 0 w 452"/>
                <a:gd name="T3" fmla="*/ 467 h 467"/>
                <a:gd name="T4" fmla="*/ 452 w 452"/>
                <a:gd name="T5" fmla="*/ 467 h 467"/>
                <a:gd name="T6" fmla="*/ 0 w 452"/>
                <a:gd name="T7" fmla="*/ 0 h 467"/>
              </a:gdLst>
              <a:ahLst/>
              <a:cxnLst>
                <a:cxn ang="0">
                  <a:pos x="T0" y="T1"/>
                </a:cxn>
                <a:cxn ang="0">
                  <a:pos x="T2" y="T3"/>
                </a:cxn>
                <a:cxn ang="0">
                  <a:pos x="T4" y="T5"/>
                </a:cxn>
                <a:cxn ang="0">
                  <a:pos x="T6" y="T7"/>
                </a:cxn>
              </a:cxnLst>
              <a:rect l="0" t="0" r="r" b="b"/>
              <a:pathLst>
                <a:path w="452" h="467">
                  <a:moveTo>
                    <a:pt x="0" y="0"/>
                  </a:moveTo>
                  <a:cubicBezTo>
                    <a:pt x="0" y="467"/>
                    <a:pt x="0" y="467"/>
                    <a:pt x="0" y="467"/>
                  </a:cubicBezTo>
                  <a:cubicBezTo>
                    <a:pt x="452" y="467"/>
                    <a:pt x="452" y="467"/>
                    <a:pt x="452" y="467"/>
                  </a:cubicBezTo>
                  <a:cubicBezTo>
                    <a:pt x="220" y="430"/>
                    <a:pt x="36" y="240"/>
                    <a:pt x="0"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3" name="Freeform 12">
              <a:extLst>
                <a:ext uri="{FF2B5EF4-FFF2-40B4-BE49-F238E27FC236}">
                  <a16:creationId xmlns:a16="http://schemas.microsoft.com/office/drawing/2014/main" id="{EB84F067-E9BC-7945-80BF-C8609D468EFB}"/>
                </a:ext>
              </a:extLst>
            </p:cNvPr>
            <p:cNvSpPr>
              <a:spLocks/>
            </p:cNvSpPr>
            <p:nvPr userDrawn="1"/>
          </p:nvSpPr>
          <p:spPr bwMode="auto">
            <a:xfrm>
              <a:off x="1946276" y="1635126"/>
              <a:ext cx="858838" cy="890588"/>
            </a:xfrm>
            <a:custGeom>
              <a:avLst/>
              <a:gdLst>
                <a:gd name="T0" fmla="*/ 0 w 452"/>
                <a:gd name="T1" fmla="*/ 467 h 467"/>
                <a:gd name="T2" fmla="*/ 452 w 452"/>
                <a:gd name="T3" fmla="*/ 467 h 467"/>
                <a:gd name="T4" fmla="*/ 452 w 452"/>
                <a:gd name="T5" fmla="*/ 0 h 467"/>
                <a:gd name="T6" fmla="*/ 0 w 452"/>
                <a:gd name="T7" fmla="*/ 467 h 467"/>
              </a:gdLst>
              <a:ahLst/>
              <a:cxnLst>
                <a:cxn ang="0">
                  <a:pos x="T0" y="T1"/>
                </a:cxn>
                <a:cxn ang="0">
                  <a:pos x="T2" y="T3"/>
                </a:cxn>
                <a:cxn ang="0">
                  <a:pos x="T4" y="T5"/>
                </a:cxn>
                <a:cxn ang="0">
                  <a:pos x="T6" y="T7"/>
                </a:cxn>
              </a:cxnLst>
              <a:rect l="0" t="0" r="r" b="b"/>
              <a:pathLst>
                <a:path w="452" h="467">
                  <a:moveTo>
                    <a:pt x="0" y="467"/>
                  </a:moveTo>
                  <a:cubicBezTo>
                    <a:pt x="452" y="467"/>
                    <a:pt x="452" y="467"/>
                    <a:pt x="452" y="467"/>
                  </a:cubicBezTo>
                  <a:cubicBezTo>
                    <a:pt x="452" y="0"/>
                    <a:pt x="452" y="0"/>
                    <a:pt x="452" y="0"/>
                  </a:cubicBezTo>
                  <a:cubicBezTo>
                    <a:pt x="416" y="240"/>
                    <a:pt x="233" y="430"/>
                    <a:pt x="0"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4" name="Freeform 13">
              <a:extLst>
                <a:ext uri="{FF2B5EF4-FFF2-40B4-BE49-F238E27FC236}">
                  <a16:creationId xmlns:a16="http://schemas.microsoft.com/office/drawing/2014/main" id="{8D37BB75-A422-1E49-BFCC-7242DE2DF2BB}"/>
                </a:ext>
              </a:extLst>
            </p:cNvPr>
            <p:cNvSpPr>
              <a:spLocks/>
            </p:cNvSpPr>
            <p:nvPr userDrawn="1"/>
          </p:nvSpPr>
          <p:spPr bwMode="auto">
            <a:xfrm>
              <a:off x="1946276" y="1265238"/>
              <a:ext cx="319088" cy="414338"/>
            </a:xfrm>
            <a:custGeom>
              <a:avLst/>
              <a:gdLst>
                <a:gd name="T0" fmla="*/ 201 w 201"/>
                <a:gd name="T1" fmla="*/ 166 h 261"/>
                <a:gd name="T2" fmla="*/ 91 w 201"/>
                <a:gd name="T3" fmla="*/ 166 h 261"/>
                <a:gd name="T4" fmla="*/ 91 w 201"/>
                <a:gd name="T5" fmla="*/ 94 h 261"/>
                <a:gd name="T6" fmla="*/ 201 w 201"/>
                <a:gd name="T7" fmla="*/ 94 h 261"/>
                <a:gd name="T8" fmla="*/ 201 w 201"/>
                <a:gd name="T9" fmla="*/ 0 h 261"/>
                <a:gd name="T10" fmla="*/ 0 w 201"/>
                <a:gd name="T11" fmla="*/ 0 h 261"/>
                <a:gd name="T12" fmla="*/ 0 w 201"/>
                <a:gd name="T13" fmla="*/ 261 h 261"/>
                <a:gd name="T14" fmla="*/ 201 w 201"/>
                <a:gd name="T15" fmla="*/ 261 h 261"/>
                <a:gd name="T16" fmla="*/ 201 w 201"/>
                <a:gd name="T17" fmla="*/ 16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61">
                  <a:moveTo>
                    <a:pt x="201" y="166"/>
                  </a:moveTo>
                  <a:lnTo>
                    <a:pt x="91" y="166"/>
                  </a:lnTo>
                  <a:lnTo>
                    <a:pt x="91" y="94"/>
                  </a:lnTo>
                  <a:lnTo>
                    <a:pt x="201" y="94"/>
                  </a:lnTo>
                  <a:lnTo>
                    <a:pt x="201" y="0"/>
                  </a:lnTo>
                  <a:lnTo>
                    <a:pt x="0" y="0"/>
                  </a:lnTo>
                  <a:lnTo>
                    <a:pt x="0" y="261"/>
                  </a:lnTo>
                  <a:lnTo>
                    <a:pt x="201" y="261"/>
                  </a:lnTo>
                  <a:lnTo>
                    <a:pt x="201" y="166"/>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5" name="Freeform 14">
              <a:extLst>
                <a:ext uri="{FF2B5EF4-FFF2-40B4-BE49-F238E27FC236}">
                  <a16:creationId xmlns:a16="http://schemas.microsoft.com/office/drawing/2014/main" id="{9D7D0303-8274-6C4D-A595-AB8906E14649}"/>
                </a:ext>
              </a:extLst>
            </p:cNvPr>
            <p:cNvSpPr>
              <a:spLocks noEditPoints="1"/>
            </p:cNvSpPr>
            <p:nvPr userDrawn="1"/>
          </p:nvSpPr>
          <p:spPr bwMode="auto">
            <a:xfrm>
              <a:off x="2308226" y="1031876"/>
              <a:ext cx="393700" cy="647700"/>
            </a:xfrm>
            <a:custGeom>
              <a:avLst/>
              <a:gdLst>
                <a:gd name="T0" fmla="*/ 163 w 248"/>
                <a:gd name="T1" fmla="*/ 313 h 408"/>
                <a:gd name="T2" fmla="*/ 93 w 248"/>
                <a:gd name="T3" fmla="*/ 313 h 408"/>
                <a:gd name="T4" fmla="*/ 93 w 248"/>
                <a:gd name="T5" fmla="*/ 241 h 408"/>
                <a:gd name="T6" fmla="*/ 163 w 248"/>
                <a:gd name="T7" fmla="*/ 241 h 408"/>
                <a:gd name="T8" fmla="*/ 163 w 248"/>
                <a:gd name="T9" fmla="*/ 313 h 408"/>
                <a:gd name="T10" fmla="*/ 0 w 248"/>
                <a:gd name="T11" fmla="*/ 0 h 408"/>
                <a:gd name="T12" fmla="*/ 0 w 248"/>
                <a:gd name="T13" fmla="*/ 408 h 408"/>
                <a:gd name="T14" fmla="*/ 248 w 248"/>
                <a:gd name="T15" fmla="*/ 408 h 408"/>
                <a:gd name="T16" fmla="*/ 248 w 248"/>
                <a:gd name="T17" fmla="*/ 147 h 408"/>
                <a:gd name="T18" fmla="*/ 93 w 248"/>
                <a:gd name="T19" fmla="*/ 147 h 408"/>
                <a:gd name="T20" fmla="*/ 93 w 248"/>
                <a:gd name="T21" fmla="*/ 0 h 408"/>
                <a:gd name="T22" fmla="*/ 0 w 248"/>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08">
                  <a:moveTo>
                    <a:pt x="163" y="313"/>
                  </a:moveTo>
                  <a:lnTo>
                    <a:pt x="93" y="313"/>
                  </a:lnTo>
                  <a:lnTo>
                    <a:pt x="93" y="241"/>
                  </a:lnTo>
                  <a:lnTo>
                    <a:pt x="163" y="241"/>
                  </a:lnTo>
                  <a:lnTo>
                    <a:pt x="163" y="313"/>
                  </a:lnTo>
                  <a:close/>
                  <a:moveTo>
                    <a:pt x="0" y="0"/>
                  </a:moveTo>
                  <a:lnTo>
                    <a:pt x="0" y="408"/>
                  </a:lnTo>
                  <a:lnTo>
                    <a:pt x="248" y="408"/>
                  </a:lnTo>
                  <a:lnTo>
                    <a:pt x="248" y="147"/>
                  </a:lnTo>
                  <a:lnTo>
                    <a:pt x="93" y="147"/>
                  </a:lnTo>
                  <a:lnTo>
                    <a:pt x="93"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6" name="Freeform 15">
              <a:extLst>
                <a:ext uri="{FF2B5EF4-FFF2-40B4-BE49-F238E27FC236}">
                  <a16:creationId xmlns:a16="http://schemas.microsoft.com/office/drawing/2014/main" id="{F74653AF-ED91-2F49-A5EC-D5E08D304F63}"/>
                </a:ext>
              </a:extLst>
            </p:cNvPr>
            <p:cNvSpPr>
              <a:spLocks/>
            </p:cNvSpPr>
            <p:nvPr userDrawn="1"/>
          </p:nvSpPr>
          <p:spPr bwMode="auto">
            <a:xfrm>
              <a:off x="1512888" y="419101"/>
              <a:ext cx="384175" cy="2106613"/>
            </a:xfrm>
            <a:custGeom>
              <a:avLst/>
              <a:gdLst>
                <a:gd name="T0" fmla="*/ 177 w 242"/>
                <a:gd name="T1" fmla="*/ 0 h 1327"/>
                <a:gd name="T2" fmla="*/ 169 w 242"/>
                <a:gd name="T3" fmla="*/ 0 h 1327"/>
                <a:gd name="T4" fmla="*/ 169 w 242"/>
                <a:gd name="T5" fmla="*/ 533 h 1327"/>
                <a:gd name="T6" fmla="*/ 151 w 242"/>
                <a:gd name="T7" fmla="*/ 533 h 1327"/>
                <a:gd name="T8" fmla="*/ 151 w 242"/>
                <a:gd name="T9" fmla="*/ 699 h 1327"/>
                <a:gd name="T10" fmla="*/ 85 w 242"/>
                <a:gd name="T11" fmla="*/ 699 h 1327"/>
                <a:gd name="T12" fmla="*/ 85 w 242"/>
                <a:gd name="T13" fmla="*/ 533 h 1327"/>
                <a:gd name="T14" fmla="*/ 0 w 242"/>
                <a:gd name="T15" fmla="*/ 533 h 1327"/>
                <a:gd name="T16" fmla="*/ 0 w 242"/>
                <a:gd name="T17" fmla="*/ 794 h 1327"/>
                <a:gd name="T18" fmla="*/ 169 w 242"/>
                <a:gd name="T19" fmla="*/ 794 h 1327"/>
                <a:gd name="T20" fmla="*/ 169 w 242"/>
                <a:gd name="T21" fmla="*/ 1327 h 1327"/>
                <a:gd name="T22" fmla="*/ 177 w 242"/>
                <a:gd name="T23" fmla="*/ 1327 h 1327"/>
                <a:gd name="T24" fmla="*/ 177 w 242"/>
                <a:gd name="T25" fmla="*/ 794 h 1327"/>
                <a:gd name="T26" fmla="*/ 242 w 242"/>
                <a:gd name="T27" fmla="*/ 794 h 1327"/>
                <a:gd name="T28" fmla="*/ 242 w 242"/>
                <a:gd name="T29" fmla="*/ 533 h 1327"/>
                <a:gd name="T30" fmla="*/ 177 w 242"/>
                <a:gd name="T31" fmla="*/ 533 h 1327"/>
                <a:gd name="T32" fmla="*/ 177 w 242"/>
                <a:gd name="T33" fmla="*/ 0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1327">
                  <a:moveTo>
                    <a:pt x="177" y="0"/>
                  </a:moveTo>
                  <a:lnTo>
                    <a:pt x="169" y="0"/>
                  </a:lnTo>
                  <a:lnTo>
                    <a:pt x="169" y="533"/>
                  </a:lnTo>
                  <a:lnTo>
                    <a:pt x="151" y="533"/>
                  </a:lnTo>
                  <a:lnTo>
                    <a:pt x="151" y="699"/>
                  </a:lnTo>
                  <a:lnTo>
                    <a:pt x="85" y="699"/>
                  </a:lnTo>
                  <a:lnTo>
                    <a:pt x="85" y="533"/>
                  </a:lnTo>
                  <a:lnTo>
                    <a:pt x="0" y="533"/>
                  </a:lnTo>
                  <a:lnTo>
                    <a:pt x="0" y="794"/>
                  </a:lnTo>
                  <a:lnTo>
                    <a:pt x="169" y="794"/>
                  </a:lnTo>
                  <a:lnTo>
                    <a:pt x="169" y="1327"/>
                  </a:lnTo>
                  <a:lnTo>
                    <a:pt x="177" y="1327"/>
                  </a:lnTo>
                  <a:lnTo>
                    <a:pt x="177" y="794"/>
                  </a:lnTo>
                  <a:lnTo>
                    <a:pt x="242" y="794"/>
                  </a:lnTo>
                  <a:lnTo>
                    <a:pt x="242" y="533"/>
                  </a:lnTo>
                  <a:lnTo>
                    <a:pt x="177" y="533"/>
                  </a:lnTo>
                  <a:lnTo>
                    <a:pt x="177"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7" name="Rectangle 16">
              <a:extLst>
                <a:ext uri="{FF2B5EF4-FFF2-40B4-BE49-F238E27FC236}">
                  <a16:creationId xmlns:a16="http://schemas.microsoft.com/office/drawing/2014/main" id="{05E6B633-48C6-514F-9496-11FE8C1B30BC}"/>
                </a:ext>
              </a:extLst>
            </p:cNvPr>
            <p:cNvSpPr>
              <a:spLocks noChangeArrowheads="1"/>
            </p:cNvSpPr>
            <p:nvPr userDrawn="1"/>
          </p:nvSpPr>
          <p:spPr bwMode="auto">
            <a:xfrm>
              <a:off x="3609976" y="427038"/>
              <a:ext cx="49213" cy="833438"/>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8" name="Freeform 17">
              <a:extLst>
                <a:ext uri="{FF2B5EF4-FFF2-40B4-BE49-F238E27FC236}">
                  <a16:creationId xmlns:a16="http://schemas.microsoft.com/office/drawing/2014/main" id="{E67892A6-E4CE-F04B-804B-04C8DDB97952}"/>
                </a:ext>
              </a:extLst>
            </p:cNvPr>
            <p:cNvSpPr>
              <a:spLocks/>
            </p:cNvSpPr>
            <p:nvPr userDrawn="1"/>
          </p:nvSpPr>
          <p:spPr bwMode="auto">
            <a:xfrm>
              <a:off x="3830638" y="649288"/>
              <a:ext cx="481013" cy="611188"/>
            </a:xfrm>
            <a:custGeom>
              <a:avLst/>
              <a:gdLst>
                <a:gd name="T0" fmla="*/ 0 w 253"/>
                <a:gd name="T1" fmla="*/ 8 h 321"/>
                <a:gd name="T2" fmla="*/ 26 w 253"/>
                <a:gd name="T3" fmla="*/ 8 h 321"/>
                <a:gd name="T4" fmla="*/ 26 w 253"/>
                <a:gd name="T5" fmla="*/ 63 h 321"/>
                <a:gd name="T6" fmla="*/ 23 w 253"/>
                <a:gd name="T7" fmla="*/ 89 h 321"/>
                <a:gd name="T8" fmla="*/ 24 w 253"/>
                <a:gd name="T9" fmla="*/ 89 h 321"/>
                <a:gd name="T10" fmla="*/ 153 w 253"/>
                <a:gd name="T11" fmla="*/ 0 h 321"/>
                <a:gd name="T12" fmla="*/ 253 w 253"/>
                <a:gd name="T13" fmla="*/ 122 h 321"/>
                <a:gd name="T14" fmla="*/ 253 w 253"/>
                <a:gd name="T15" fmla="*/ 321 h 321"/>
                <a:gd name="T16" fmla="*/ 227 w 253"/>
                <a:gd name="T17" fmla="*/ 321 h 321"/>
                <a:gd name="T18" fmla="*/ 227 w 253"/>
                <a:gd name="T19" fmla="*/ 132 h 321"/>
                <a:gd name="T20" fmla="*/ 153 w 253"/>
                <a:gd name="T21" fmla="*/ 26 h 321"/>
                <a:gd name="T22" fmla="*/ 30 w 253"/>
                <a:gd name="T23" fmla="*/ 126 h 321"/>
                <a:gd name="T24" fmla="*/ 26 w 253"/>
                <a:gd name="T25" fmla="*/ 168 h 321"/>
                <a:gd name="T26" fmla="*/ 26 w 253"/>
                <a:gd name="T27" fmla="*/ 321 h 321"/>
                <a:gd name="T28" fmla="*/ 0 w 253"/>
                <a:gd name="T29" fmla="*/ 321 h 321"/>
                <a:gd name="T30" fmla="*/ 0 w 253"/>
                <a:gd name="T31" fmla="*/ 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321">
                  <a:moveTo>
                    <a:pt x="0" y="8"/>
                  </a:moveTo>
                  <a:cubicBezTo>
                    <a:pt x="26" y="8"/>
                    <a:pt x="26" y="8"/>
                    <a:pt x="26" y="8"/>
                  </a:cubicBezTo>
                  <a:cubicBezTo>
                    <a:pt x="26" y="63"/>
                    <a:pt x="26" y="63"/>
                    <a:pt x="26" y="63"/>
                  </a:cubicBezTo>
                  <a:cubicBezTo>
                    <a:pt x="26" y="77"/>
                    <a:pt x="23" y="89"/>
                    <a:pt x="23" y="89"/>
                  </a:cubicBezTo>
                  <a:cubicBezTo>
                    <a:pt x="24" y="89"/>
                    <a:pt x="24" y="89"/>
                    <a:pt x="24" y="89"/>
                  </a:cubicBezTo>
                  <a:cubicBezTo>
                    <a:pt x="35" y="59"/>
                    <a:pt x="77" y="0"/>
                    <a:pt x="153" y="0"/>
                  </a:cubicBezTo>
                  <a:cubicBezTo>
                    <a:pt x="231" y="0"/>
                    <a:pt x="253" y="49"/>
                    <a:pt x="253" y="122"/>
                  </a:cubicBezTo>
                  <a:cubicBezTo>
                    <a:pt x="253" y="321"/>
                    <a:pt x="253" y="321"/>
                    <a:pt x="253" y="321"/>
                  </a:cubicBezTo>
                  <a:cubicBezTo>
                    <a:pt x="227" y="321"/>
                    <a:pt x="227" y="321"/>
                    <a:pt x="227" y="321"/>
                  </a:cubicBezTo>
                  <a:cubicBezTo>
                    <a:pt x="227" y="132"/>
                    <a:pt x="227" y="132"/>
                    <a:pt x="227" y="132"/>
                  </a:cubicBezTo>
                  <a:cubicBezTo>
                    <a:pt x="227" y="77"/>
                    <a:pt x="220" y="26"/>
                    <a:pt x="153" y="26"/>
                  </a:cubicBezTo>
                  <a:cubicBezTo>
                    <a:pt x="96" y="26"/>
                    <a:pt x="46" y="67"/>
                    <a:pt x="30" y="126"/>
                  </a:cubicBezTo>
                  <a:cubicBezTo>
                    <a:pt x="27" y="139"/>
                    <a:pt x="26" y="153"/>
                    <a:pt x="26" y="168"/>
                  </a:cubicBezTo>
                  <a:cubicBezTo>
                    <a:pt x="26" y="321"/>
                    <a:pt x="26" y="321"/>
                    <a:pt x="26" y="321"/>
                  </a:cubicBezTo>
                  <a:cubicBezTo>
                    <a:pt x="0" y="321"/>
                    <a:pt x="0" y="321"/>
                    <a:pt x="0" y="321"/>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9" name="Freeform 18">
              <a:extLst>
                <a:ext uri="{FF2B5EF4-FFF2-40B4-BE49-F238E27FC236}">
                  <a16:creationId xmlns:a16="http://schemas.microsoft.com/office/drawing/2014/main" id="{1C42B72D-F298-5F41-8ABF-4DE435923668}"/>
                </a:ext>
              </a:extLst>
            </p:cNvPr>
            <p:cNvSpPr>
              <a:spLocks/>
            </p:cNvSpPr>
            <p:nvPr userDrawn="1"/>
          </p:nvSpPr>
          <p:spPr bwMode="auto">
            <a:xfrm>
              <a:off x="4400551" y="652463"/>
              <a:ext cx="392113" cy="622300"/>
            </a:xfrm>
            <a:custGeom>
              <a:avLst/>
              <a:gdLst>
                <a:gd name="T0" fmla="*/ 16 w 206"/>
                <a:gd name="T1" fmla="*/ 262 h 327"/>
                <a:gd name="T2" fmla="*/ 110 w 206"/>
                <a:gd name="T3" fmla="*/ 302 h 327"/>
                <a:gd name="T4" fmla="*/ 179 w 206"/>
                <a:gd name="T5" fmla="*/ 243 h 327"/>
                <a:gd name="T6" fmla="*/ 13 w 206"/>
                <a:gd name="T7" fmla="*/ 84 h 327"/>
                <a:gd name="T8" fmla="*/ 110 w 206"/>
                <a:gd name="T9" fmla="*/ 0 h 327"/>
                <a:gd name="T10" fmla="*/ 199 w 206"/>
                <a:gd name="T11" fmla="*/ 33 h 327"/>
                <a:gd name="T12" fmla="*/ 184 w 206"/>
                <a:gd name="T13" fmla="*/ 55 h 327"/>
                <a:gd name="T14" fmla="*/ 108 w 206"/>
                <a:gd name="T15" fmla="*/ 25 h 327"/>
                <a:gd name="T16" fmla="*/ 40 w 206"/>
                <a:gd name="T17" fmla="*/ 82 h 327"/>
                <a:gd name="T18" fmla="*/ 206 w 206"/>
                <a:gd name="T19" fmla="*/ 243 h 327"/>
                <a:gd name="T20" fmla="*/ 109 w 206"/>
                <a:gd name="T21" fmla="*/ 327 h 327"/>
                <a:gd name="T22" fmla="*/ 0 w 206"/>
                <a:gd name="T23" fmla="*/ 282 h 327"/>
                <a:gd name="T24" fmla="*/ 16 w 206"/>
                <a:gd name="T25" fmla="*/ 2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327">
                  <a:moveTo>
                    <a:pt x="16" y="262"/>
                  </a:moveTo>
                  <a:cubicBezTo>
                    <a:pt x="16" y="262"/>
                    <a:pt x="50" y="302"/>
                    <a:pt x="110" y="302"/>
                  </a:cubicBezTo>
                  <a:cubicBezTo>
                    <a:pt x="147" y="302"/>
                    <a:pt x="179" y="281"/>
                    <a:pt x="179" y="243"/>
                  </a:cubicBezTo>
                  <a:cubicBezTo>
                    <a:pt x="179" y="163"/>
                    <a:pt x="13" y="186"/>
                    <a:pt x="13" y="84"/>
                  </a:cubicBezTo>
                  <a:cubicBezTo>
                    <a:pt x="13" y="28"/>
                    <a:pt x="58" y="0"/>
                    <a:pt x="110" y="0"/>
                  </a:cubicBezTo>
                  <a:cubicBezTo>
                    <a:pt x="171" y="0"/>
                    <a:pt x="199" y="33"/>
                    <a:pt x="199" y="33"/>
                  </a:cubicBezTo>
                  <a:cubicBezTo>
                    <a:pt x="184" y="55"/>
                    <a:pt x="184" y="55"/>
                    <a:pt x="184" y="55"/>
                  </a:cubicBezTo>
                  <a:cubicBezTo>
                    <a:pt x="184" y="55"/>
                    <a:pt x="159" y="25"/>
                    <a:pt x="108" y="25"/>
                  </a:cubicBezTo>
                  <a:cubicBezTo>
                    <a:pt x="73" y="25"/>
                    <a:pt x="40" y="41"/>
                    <a:pt x="40" y="82"/>
                  </a:cubicBezTo>
                  <a:cubicBezTo>
                    <a:pt x="40" y="163"/>
                    <a:pt x="206" y="139"/>
                    <a:pt x="206" y="243"/>
                  </a:cubicBezTo>
                  <a:cubicBezTo>
                    <a:pt x="206" y="293"/>
                    <a:pt x="165" y="327"/>
                    <a:pt x="109" y="327"/>
                  </a:cubicBezTo>
                  <a:cubicBezTo>
                    <a:pt x="36" y="327"/>
                    <a:pt x="0" y="282"/>
                    <a:pt x="0" y="282"/>
                  </a:cubicBezTo>
                  <a:lnTo>
                    <a:pt x="16" y="26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0" name="Freeform 19">
              <a:extLst>
                <a:ext uri="{FF2B5EF4-FFF2-40B4-BE49-F238E27FC236}">
                  <a16:creationId xmlns:a16="http://schemas.microsoft.com/office/drawing/2014/main" id="{E5D56FA2-4652-2941-B7A2-4EBBD9728659}"/>
                </a:ext>
              </a:extLst>
            </p:cNvPr>
            <p:cNvSpPr>
              <a:spLocks noEditPoints="1"/>
            </p:cNvSpPr>
            <p:nvPr userDrawn="1"/>
          </p:nvSpPr>
          <p:spPr bwMode="auto">
            <a:xfrm>
              <a:off x="4899026" y="649288"/>
              <a:ext cx="501650" cy="849313"/>
            </a:xfrm>
            <a:custGeom>
              <a:avLst/>
              <a:gdLst>
                <a:gd name="T0" fmla="*/ 130 w 264"/>
                <a:gd name="T1" fmla="*/ 303 h 446"/>
                <a:gd name="T2" fmla="*/ 238 w 264"/>
                <a:gd name="T3" fmla="*/ 164 h 446"/>
                <a:gd name="T4" fmla="*/ 132 w 264"/>
                <a:gd name="T5" fmla="*/ 26 h 446"/>
                <a:gd name="T6" fmla="*/ 25 w 264"/>
                <a:gd name="T7" fmla="*/ 165 h 446"/>
                <a:gd name="T8" fmla="*/ 130 w 264"/>
                <a:gd name="T9" fmla="*/ 303 h 446"/>
                <a:gd name="T10" fmla="*/ 0 w 264"/>
                <a:gd name="T11" fmla="*/ 8 h 446"/>
                <a:gd name="T12" fmla="*/ 25 w 264"/>
                <a:gd name="T13" fmla="*/ 8 h 446"/>
                <a:gd name="T14" fmla="*/ 25 w 264"/>
                <a:gd name="T15" fmla="*/ 46 h 446"/>
                <a:gd name="T16" fmla="*/ 23 w 264"/>
                <a:gd name="T17" fmla="*/ 71 h 446"/>
                <a:gd name="T18" fmla="*/ 25 w 264"/>
                <a:gd name="T19" fmla="*/ 71 h 446"/>
                <a:gd name="T20" fmla="*/ 134 w 264"/>
                <a:gd name="T21" fmla="*/ 0 h 446"/>
                <a:gd name="T22" fmla="*/ 264 w 264"/>
                <a:gd name="T23" fmla="*/ 164 h 446"/>
                <a:gd name="T24" fmla="*/ 130 w 264"/>
                <a:gd name="T25" fmla="*/ 328 h 446"/>
                <a:gd name="T26" fmla="*/ 24 w 264"/>
                <a:gd name="T27" fmla="*/ 257 h 446"/>
                <a:gd name="T28" fmla="*/ 23 w 264"/>
                <a:gd name="T29" fmla="*/ 257 h 446"/>
                <a:gd name="T30" fmla="*/ 25 w 264"/>
                <a:gd name="T31" fmla="*/ 285 h 446"/>
                <a:gd name="T32" fmla="*/ 25 w 264"/>
                <a:gd name="T33" fmla="*/ 446 h 446"/>
                <a:gd name="T34" fmla="*/ 0 w 264"/>
                <a:gd name="T35" fmla="*/ 446 h 446"/>
                <a:gd name="T36" fmla="*/ 0 w 264"/>
                <a:gd name="T37" fmla="*/ 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303"/>
                  </a:moveTo>
                  <a:cubicBezTo>
                    <a:pt x="189" y="303"/>
                    <a:pt x="238" y="252"/>
                    <a:pt x="238" y="164"/>
                  </a:cubicBezTo>
                  <a:cubicBezTo>
                    <a:pt x="238" y="80"/>
                    <a:pt x="194" y="26"/>
                    <a:pt x="132" y="26"/>
                  </a:cubicBezTo>
                  <a:cubicBezTo>
                    <a:pt x="77" y="26"/>
                    <a:pt x="25" y="67"/>
                    <a:pt x="25" y="165"/>
                  </a:cubicBezTo>
                  <a:cubicBezTo>
                    <a:pt x="25" y="234"/>
                    <a:pt x="62" y="303"/>
                    <a:pt x="130" y="303"/>
                  </a:cubicBezTo>
                  <a:moveTo>
                    <a:pt x="0" y="8"/>
                  </a:moveTo>
                  <a:cubicBezTo>
                    <a:pt x="25" y="8"/>
                    <a:pt x="25" y="8"/>
                    <a:pt x="25" y="8"/>
                  </a:cubicBezTo>
                  <a:cubicBezTo>
                    <a:pt x="25" y="46"/>
                    <a:pt x="25" y="46"/>
                    <a:pt x="25" y="46"/>
                  </a:cubicBezTo>
                  <a:cubicBezTo>
                    <a:pt x="25" y="60"/>
                    <a:pt x="23" y="71"/>
                    <a:pt x="23" y="71"/>
                  </a:cubicBezTo>
                  <a:cubicBezTo>
                    <a:pt x="25" y="71"/>
                    <a:pt x="25" y="71"/>
                    <a:pt x="25" y="71"/>
                  </a:cubicBezTo>
                  <a:cubicBezTo>
                    <a:pt x="25" y="71"/>
                    <a:pt x="49" y="0"/>
                    <a:pt x="134" y="0"/>
                  </a:cubicBezTo>
                  <a:cubicBezTo>
                    <a:pt x="215" y="0"/>
                    <a:pt x="264" y="67"/>
                    <a:pt x="264" y="164"/>
                  </a:cubicBezTo>
                  <a:cubicBezTo>
                    <a:pt x="264" y="264"/>
                    <a:pt x="208" y="328"/>
                    <a:pt x="130" y="328"/>
                  </a:cubicBezTo>
                  <a:cubicBezTo>
                    <a:pt x="51" y="328"/>
                    <a:pt x="24" y="257"/>
                    <a:pt x="24" y="257"/>
                  </a:cubicBezTo>
                  <a:cubicBezTo>
                    <a:pt x="23" y="257"/>
                    <a:pt x="23" y="257"/>
                    <a:pt x="23" y="257"/>
                  </a:cubicBezTo>
                  <a:cubicBezTo>
                    <a:pt x="23" y="257"/>
                    <a:pt x="25" y="269"/>
                    <a:pt x="25" y="285"/>
                  </a:cubicBezTo>
                  <a:cubicBezTo>
                    <a:pt x="25" y="446"/>
                    <a:pt x="25" y="446"/>
                    <a:pt x="25" y="446"/>
                  </a:cubicBezTo>
                  <a:cubicBezTo>
                    <a:pt x="0" y="446"/>
                    <a:pt x="0" y="446"/>
                    <a:pt x="0" y="446"/>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1" name="Freeform 20">
              <a:extLst>
                <a:ext uri="{FF2B5EF4-FFF2-40B4-BE49-F238E27FC236}">
                  <a16:creationId xmlns:a16="http://schemas.microsoft.com/office/drawing/2014/main" id="{F9688618-05E1-E24E-9428-C795EBF5DA7F}"/>
                </a:ext>
              </a:extLst>
            </p:cNvPr>
            <p:cNvSpPr>
              <a:spLocks noEditPoints="1"/>
            </p:cNvSpPr>
            <p:nvPr userDrawn="1"/>
          </p:nvSpPr>
          <p:spPr bwMode="auto">
            <a:xfrm>
              <a:off x="5513388" y="427038"/>
              <a:ext cx="57150" cy="833438"/>
            </a:xfrm>
            <a:custGeom>
              <a:avLst/>
              <a:gdLst>
                <a:gd name="T0" fmla="*/ 3 w 36"/>
                <a:gd name="T1" fmla="*/ 525 h 525"/>
                <a:gd name="T2" fmla="*/ 34 w 36"/>
                <a:gd name="T3" fmla="*/ 525 h 525"/>
                <a:gd name="T4" fmla="*/ 34 w 36"/>
                <a:gd name="T5" fmla="*/ 150 h 525"/>
                <a:gd name="T6" fmla="*/ 3 w 36"/>
                <a:gd name="T7" fmla="*/ 150 h 525"/>
                <a:gd name="T8" fmla="*/ 3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3" y="525"/>
                  </a:moveTo>
                  <a:lnTo>
                    <a:pt x="34" y="525"/>
                  </a:lnTo>
                  <a:lnTo>
                    <a:pt x="34" y="150"/>
                  </a:lnTo>
                  <a:lnTo>
                    <a:pt x="3" y="150"/>
                  </a:lnTo>
                  <a:lnTo>
                    <a:pt x="3"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2" name="Freeform 21">
              <a:extLst>
                <a:ext uri="{FF2B5EF4-FFF2-40B4-BE49-F238E27FC236}">
                  <a16:creationId xmlns:a16="http://schemas.microsoft.com/office/drawing/2014/main" id="{163F89CA-44DD-1C46-B5CE-C46FB53226A2}"/>
                </a:ext>
              </a:extLst>
            </p:cNvPr>
            <p:cNvSpPr>
              <a:spLocks/>
            </p:cNvSpPr>
            <p:nvPr userDrawn="1"/>
          </p:nvSpPr>
          <p:spPr bwMode="auto">
            <a:xfrm>
              <a:off x="5716588" y="660401"/>
              <a:ext cx="263525" cy="600075"/>
            </a:xfrm>
            <a:custGeom>
              <a:avLst/>
              <a:gdLst>
                <a:gd name="T0" fmla="*/ 0 w 138"/>
                <a:gd name="T1" fmla="*/ 2 h 315"/>
                <a:gd name="T2" fmla="*/ 25 w 138"/>
                <a:gd name="T3" fmla="*/ 2 h 315"/>
                <a:gd name="T4" fmla="*/ 25 w 138"/>
                <a:gd name="T5" fmla="*/ 61 h 315"/>
                <a:gd name="T6" fmla="*/ 23 w 138"/>
                <a:gd name="T7" fmla="*/ 87 h 315"/>
                <a:gd name="T8" fmla="*/ 24 w 138"/>
                <a:gd name="T9" fmla="*/ 87 h 315"/>
                <a:gd name="T10" fmla="*/ 121 w 138"/>
                <a:gd name="T11" fmla="*/ 0 h 315"/>
                <a:gd name="T12" fmla="*/ 138 w 138"/>
                <a:gd name="T13" fmla="*/ 1 h 315"/>
                <a:gd name="T14" fmla="*/ 138 w 138"/>
                <a:gd name="T15" fmla="*/ 28 h 315"/>
                <a:gd name="T16" fmla="*/ 125 w 138"/>
                <a:gd name="T17" fmla="*/ 26 h 315"/>
                <a:gd name="T18" fmla="*/ 34 w 138"/>
                <a:gd name="T19" fmla="*/ 114 h 315"/>
                <a:gd name="T20" fmla="*/ 25 w 138"/>
                <a:gd name="T21" fmla="*/ 180 h 315"/>
                <a:gd name="T22" fmla="*/ 25 w 138"/>
                <a:gd name="T23" fmla="*/ 315 h 315"/>
                <a:gd name="T24" fmla="*/ 0 w 138"/>
                <a:gd name="T25" fmla="*/ 315 h 315"/>
                <a:gd name="T26" fmla="*/ 0 w 138"/>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15">
                  <a:moveTo>
                    <a:pt x="0" y="2"/>
                  </a:moveTo>
                  <a:cubicBezTo>
                    <a:pt x="25" y="2"/>
                    <a:pt x="25" y="2"/>
                    <a:pt x="25" y="2"/>
                  </a:cubicBezTo>
                  <a:cubicBezTo>
                    <a:pt x="25" y="61"/>
                    <a:pt x="25" y="61"/>
                    <a:pt x="25" y="61"/>
                  </a:cubicBezTo>
                  <a:cubicBezTo>
                    <a:pt x="25" y="76"/>
                    <a:pt x="23" y="87"/>
                    <a:pt x="23" y="87"/>
                  </a:cubicBezTo>
                  <a:cubicBezTo>
                    <a:pt x="24" y="87"/>
                    <a:pt x="24" y="87"/>
                    <a:pt x="24" y="87"/>
                  </a:cubicBezTo>
                  <a:cubicBezTo>
                    <a:pt x="39" y="39"/>
                    <a:pt x="73" y="0"/>
                    <a:pt x="121" y="0"/>
                  </a:cubicBezTo>
                  <a:cubicBezTo>
                    <a:pt x="130" y="0"/>
                    <a:pt x="138" y="1"/>
                    <a:pt x="138" y="1"/>
                  </a:cubicBezTo>
                  <a:cubicBezTo>
                    <a:pt x="138" y="28"/>
                    <a:pt x="138" y="28"/>
                    <a:pt x="138" y="28"/>
                  </a:cubicBezTo>
                  <a:cubicBezTo>
                    <a:pt x="138" y="28"/>
                    <a:pt x="131" y="26"/>
                    <a:pt x="125" y="26"/>
                  </a:cubicBezTo>
                  <a:cubicBezTo>
                    <a:pt x="77" y="26"/>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3" name="Freeform 22">
              <a:extLst>
                <a:ext uri="{FF2B5EF4-FFF2-40B4-BE49-F238E27FC236}">
                  <a16:creationId xmlns:a16="http://schemas.microsoft.com/office/drawing/2014/main" id="{91505CB8-FEEB-8245-A45F-FF7F866FD044}"/>
                </a:ext>
              </a:extLst>
            </p:cNvPr>
            <p:cNvSpPr>
              <a:spLocks noEditPoints="1"/>
            </p:cNvSpPr>
            <p:nvPr userDrawn="1"/>
          </p:nvSpPr>
          <p:spPr bwMode="auto">
            <a:xfrm>
              <a:off x="5991226" y="649288"/>
              <a:ext cx="514350" cy="625475"/>
            </a:xfrm>
            <a:custGeom>
              <a:avLst/>
              <a:gdLst>
                <a:gd name="T0" fmla="*/ 244 w 271"/>
                <a:gd name="T1" fmla="*/ 136 h 328"/>
                <a:gd name="T2" fmla="*/ 147 w 271"/>
                <a:gd name="T3" fmla="*/ 25 h 328"/>
                <a:gd name="T4" fmla="*/ 29 w 271"/>
                <a:gd name="T5" fmla="*/ 136 h 328"/>
                <a:gd name="T6" fmla="*/ 244 w 271"/>
                <a:gd name="T7" fmla="*/ 136 h 328"/>
                <a:gd name="T8" fmla="*/ 147 w 271"/>
                <a:gd name="T9" fmla="*/ 0 h 328"/>
                <a:gd name="T10" fmla="*/ 271 w 271"/>
                <a:gd name="T11" fmla="*/ 143 h 328"/>
                <a:gd name="T12" fmla="*/ 270 w 271"/>
                <a:gd name="T13" fmla="*/ 160 h 328"/>
                <a:gd name="T14" fmla="*/ 27 w 271"/>
                <a:gd name="T15" fmla="*/ 160 h 328"/>
                <a:gd name="T16" fmla="*/ 156 w 271"/>
                <a:gd name="T17" fmla="*/ 303 h 328"/>
                <a:gd name="T18" fmla="*/ 250 w 271"/>
                <a:gd name="T19" fmla="*/ 263 h 328"/>
                <a:gd name="T20" fmla="*/ 264 w 271"/>
                <a:gd name="T21" fmla="*/ 285 h 328"/>
                <a:gd name="T22" fmla="*/ 156 w 271"/>
                <a:gd name="T23" fmla="*/ 328 h 328"/>
                <a:gd name="T24" fmla="*/ 0 w 271"/>
                <a:gd name="T25" fmla="*/ 165 h 328"/>
                <a:gd name="T26" fmla="*/ 147 w 271"/>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328">
                  <a:moveTo>
                    <a:pt x="244" y="136"/>
                  </a:moveTo>
                  <a:cubicBezTo>
                    <a:pt x="241" y="59"/>
                    <a:pt x="197" y="25"/>
                    <a:pt x="147" y="25"/>
                  </a:cubicBezTo>
                  <a:cubicBezTo>
                    <a:pt x="91" y="25"/>
                    <a:pt x="39" y="62"/>
                    <a:pt x="29" y="136"/>
                  </a:cubicBezTo>
                  <a:lnTo>
                    <a:pt x="244" y="136"/>
                  </a:lnTo>
                  <a:close/>
                  <a:moveTo>
                    <a:pt x="147" y="0"/>
                  </a:moveTo>
                  <a:cubicBezTo>
                    <a:pt x="230" y="0"/>
                    <a:pt x="271" y="67"/>
                    <a:pt x="271" y="143"/>
                  </a:cubicBezTo>
                  <a:cubicBezTo>
                    <a:pt x="271" y="150"/>
                    <a:pt x="270" y="160"/>
                    <a:pt x="270" y="160"/>
                  </a:cubicBezTo>
                  <a:cubicBezTo>
                    <a:pt x="27" y="160"/>
                    <a:pt x="27" y="160"/>
                    <a:pt x="27" y="160"/>
                  </a:cubicBezTo>
                  <a:cubicBezTo>
                    <a:pt x="27" y="251"/>
                    <a:pt x="86" y="303"/>
                    <a:pt x="156" y="303"/>
                  </a:cubicBezTo>
                  <a:cubicBezTo>
                    <a:pt x="214" y="303"/>
                    <a:pt x="250" y="263"/>
                    <a:pt x="250" y="263"/>
                  </a:cubicBezTo>
                  <a:cubicBezTo>
                    <a:pt x="264" y="285"/>
                    <a:pt x="264" y="285"/>
                    <a:pt x="264" y="285"/>
                  </a:cubicBezTo>
                  <a:cubicBezTo>
                    <a:pt x="264" y="285"/>
                    <a:pt x="222" y="328"/>
                    <a:pt x="156" y="328"/>
                  </a:cubicBezTo>
                  <a:cubicBezTo>
                    <a:pt x="71" y="328"/>
                    <a:pt x="0" y="264"/>
                    <a:pt x="0" y="165"/>
                  </a:cubicBezTo>
                  <a:cubicBezTo>
                    <a:pt x="0" y="59"/>
                    <a:pt x="70"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4" name="Freeform 23">
              <a:extLst>
                <a:ext uri="{FF2B5EF4-FFF2-40B4-BE49-F238E27FC236}">
                  <a16:creationId xmlns:a16="http://schemas.microsoft.com/office/drawing/2014/main" id="{14DB7442-FE50-DC4E-827B-A6F8C0948F3D}"/>
                </a:ext>
              </a:extLst>
            </p:cNvPr>
            <p:cNvSpPr>
              <a:spLocks noEditPoints="1"/>
            </p:cNvSpPr>
            <p:nvPr userDrawn="1"/>
          </p:nvSpPr>
          <p:spPr bwMode="auto">
            <a:xfrm>
              <a:off x="6584951" y="427038"/>
              <a:ext cx="501650" cy="847725"/>
            </a:xfrm>
            <a:custGeom>
              <a:avLst/>
              <a:gdLst>
                <a:gd name="T0" fmla="*/ 132 w 264"/>
                <a:gd name="T1" fmla="*/ 420 h 445"/>
                <a:gd name="T2" fmla="*/ 239 w 264"/>
                <a:gd name="T3" fmla="*/ 281 h 445"/>
                <a:gd name="T4" fmla="*/ 134 w 264"/>
                <a:gd name="T5" fmla="*/ 143 h 445"/>
                <a:gd name="T6" fmla="*/ 26 w 264"/>
                <a:gd name="T7" fmla="*/ 281 h 445"/>
                <a:gd name="T8" fmla="*/ 132 w 264"/>
                <a:gd name="T9" fmla="*/ 420 h 445"/>
                <a:gd name="T10" fmla="*/ 135 w 264"/>
                <a:gd name="T11" fmla="*/ 117 h 445"/>
                <a:gd name="T12" fmla="*/ 240 w 264"/>
                <a:gd name="T13" fmla="*/ 188 h 445"/>
                <a:gd name="T14" fmla="*/ 241 w 264"/>
                <a:gd name="T15" fmla="*/ 188 h 445"/>
                <a:gd name="T16" fmla="*/ 239 w 264"/>
                <a:gd name="T17" fmla="*/ 162 h 445"/>
                <a:gd name="T18" fmla="*/ 239 w 264"/>
                <a:gd name="T19" fmla="*/ 0 h 445"/>
                <a:gd name="T20" fmla="*/ 264 w 264"/>
                <a:gd name="T21" fmla="*/ 0 h 445"/>
                <a:gd name="T22" fmla="*/ 264 w 264"/>
                <a:gd name="T23" fmla="*/ 438 h 445"/>
                <a:gd name="T24" fmla="*/ 239 w 264"/>
                <a:gd name="T25" fmla="*/ 438 h 445"/>
                <a:gd name="T26" fmla="*/ 239 w 264"/>
                <a:gd name="T27" fmla="*/ 398 h 445"/>
                <a:gd name="T28" fmla="*/ 241 w 264"/>
                <a:gd name="T29" fmla="*/ 374 h 445"/>
                <a:gd name="T30" fmla="*/ 240 w 264"/>
                <a:gd name="T31" fmla="*/ 374 h 445"/>
                <a:gd name="T32" fmla="*/ 131 w 264"/>
                <a:gd name="T33" fmla="*/ 445 h 445"/>
                <a:gd name="T34" fmla="*/ 0 w 264"/>
                <a:gd name="T35" fmla="*/ 281 h 445"/>
                <a:gd name="T36" fmla="*/ 135 w 264"/>
                <a:gd name="T37" fmla="*/ 11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5">
                  <a:moveTo>
                    <a:pt x="132" y="420"/>
                  </a:moveTo>
                  <a:cubicBezTo>
                    <a:pt x="187" y="420"/>
                    <a:pt x="239" y="379"/>
                    <a:pt x="239" y="281"/>
                  </a:cubicBezTo>
                  <a:cubicBezTo>
                    <a:pt x="239" y="211"/>
                    <a:pt x="205" y="143"/>
                    <a:pt x="134" y="143"/>
                  </a:cubicBezTo>
                  <a:cubicBezTo>
                    <a:pt x="75" y="143"/>
                    <a:pt x="26" y="194"/>
                    <a:pt x="26" y="281"/>
                  </a:cubicBezTo>
                  <a:cubicBezTo>
                    <a:pt x="26" y="366"/>
                    <a:pt x="70" y="420"/>
                    <a:pt x="132" y="420"/>
                  </a:cubicBezTo>
                  <a:moveTo>
                    <a:pt x="135" y="117"/>
                  </a:moveTo>
                  <a:cubicBezTo>
                    <a:pt x="212" y="117"/>
                    <a:pt x="240" y="188"/>
                    <a:pt x="240" y="188"/>
                  </a:cubicBezTo>
                  <a:cubicBezTo>
                    <a:pt x="241" y="188"/>
                    <a:pt x="241" y="188"/>
                    <a:pt x="241" y="188"/>
                  </a:cubicBezTo>
                  <a:cubicBezTo>
                    <a:pt x="241" y="188"/>
                    <a:pt x="239" y="177"/>
                    <a:pt x="239" y="162"/>
                  </a:cubicBezTo>
                  <a:cubicBezTo>
                    <a:pt x="239" y="0"/>
                    <a:pt x="239" y="0"/>
                    <a:pt x="239" y="0"/>
                  </a:cubicBezTo>
                  <a:cubicBezTo>
                    <a:pt x="264" y="0"/>
                    <a:pt x="264" y="0"/>
                    <a:pt x="264" y="0"/>
                  </a:cubicBezTo>
                  <a:cubicBezTo>
                    <a:pt x="264" y="438"/>
                    <a:pt x="264" y="438"/>
                    <a:pt x="264" y="438"/>
                  </a:cubicBezTo>
                  <a:cubicBezTo>
                    <a:pt x="239" y="438"/>
                    <a:pt x="239" y="438"/>
                    <a:pt x="239" y="438"/>
                  </a:cubicBezTo>
                  <a:cubicBezTo>
                    <a:pt x="239" y="398"/>
                    <a:pt x="239" y="398"/>
                    <a:pt x="239" y="398"/>
                  </a:cubicBezTo>
                  <a:cubicBezTo>
                    <a:pt x="239" y="384"/>
                    <a:pt x="241" y="374"/>
                    <a:pt x="241" y="374"/>
                  </a:cubicBezTo>
                  <a:cubicBezTo>
                    <a:pt x="240" y="374"/>
                    <a:pt x="240" y="374"/>
                    <a:pt x="240" y="374"/>
                  </a:cubicBezTo>
                  <a:cubicBezTo>
                    <a:pt x="240" y="374"/>
                    <a:pt x="214" y="445"/>
                    <a:pt x="131" y="445"/>
                  </a:cubicBezTo>
                  <a:cubicBezTo>
                    <a:pt x="49" y="445"/>
                    <a:pt x="0" y="378"/>
                    <a:pt x="0" y="281"/>
                  </a:cubicBezTo>
                  <a:cubicBezTo>
                    <a:pt x="0" y="182"/>
                    <a:pt x="56" y="117"/>
                    <a:pt x="135" y="11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5" name="Freeform 24">
              <a:extLst>
                <a:ext uri="{FF2B5EF4-FFF2-40B4-BE49-F238E27FC236}">
                  <a16:creationId xmlns:a16="http://schemas.microsoft.com/office/drawing/2014/main" id="{19EA41B1-60CB-BD44-8712-69CF8EA15C6C}"/>
                </a:ext>
              </a:extLst>
            </p:cNvPr>
            <p:cNvSpPr>
              <a:spLocks noEditPoints="1"/>
            </p:cNvSpPr>
            <p:nvPr userDrawn="1"/>
          </p:nvSpPr>
          <p:spPr bwMode="auto">
            <a:xfrm>
              <a:off x="7562851" y="427038"/>
              <a:ext cx="503238" cy="847725"/>
            </a:xfrm>
            <a:custGeom>
              <a:avLst/>
              <a:gdLst>
                <a:gd name="T0" fmla="*/ 130 w 265"/>
                <a:gd name="T1" fmla="*/ 420 h 445"/>
                <a:gd name="T2" fmla="*/ 238 w 265"/>
                <a:gd name="T3" fmla="*/ 281 h 445"/>
                <a:gd name="T4" fmla="*/ 133 w 265"/>
                <a:gd name="T5" fmla="*/ 143 h 445"/>
                <a:gd name="T6" fmla="*/ 25 w 265"/>
                <a:gd name="T7" fmla="*/ 282 h 445"/>
                <a:gd name="T8" fmla="*/ 130 w 265"/>
                <a:gd name="T9" fmla="*/ 420 h 445"/>
                <a:gd name="T10" fmla="*/ 0 w 265"/>
                <a:gd name="T11" fmla="*/ 0 h 445"/>
                <a:gd name="T12" fmla="*/ 26 w 265"/>
                <a:gd name="T13" fmla="*/ 0 h 445"/>
                <a:gd name="T14" fmla="*/ 26 w 265"/>
                <a:gd name="T15" fmla="*/ 163 h 445"/>
                <a:gd name="T16" fmla="*/ 23 w 265"/>
                <a:gd name="T17" fmla="*/ 188 h 445"/>
                <a:gd name="T18" fmla="*/ 24 w 265"/>
                <a:gd name="T19" fmla="*/ 188 h 445"/>
                <a:gd name="T20" fmla="*/ 134 w 265"/>
                <a:gd name="T21" fmla="*/ 117 h 445"/>
                <a:gd name="T22" fmla="*/ 265 w 265"/>
                <a:gd name="T23" fmla="*/ 281 h 445"/>
                <a:gd name="T24" fmla="*/ 129 w 265"/>
                <a:gd name="T25" fmla="*/ 445 h 445"/>
                <a:gd name="T26" fmla="*/ 24 w 265"/>
                <a:gd name="T27" fmla="*/ 374 h 445"/>
                <a:gd name="T28" fmla="*/ 23 w 265"/>
                <a:gd name="T29" fmla="*/ 374 h 445"/>
                <a:gd name="T30" fmla="*/ 26 w 265"/>
                <a:gd name="T31" fmla="*/ 402 h 445"/>
                <a:gd name="T32" fmla="*/ 26 w 265"/>
                <a:gd name="T33" fmla="*/ 438 h 445"/>
                <a:gd name="T34" fmla="*/ 0 w 265"/>
                <a:gd name="T35" fmla="*/ 438 h 445"/>
                <a:gd name="T36" fmla="*/ 0 w 265"/>
                <a:gd name="T37"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5" h="445">
                  <a:moveTo>
                    <a:pt x="130" y="420"/>
                  </a:moveTo>
                  <a:cubicBezTo>
                    <a:pt x="190" y="420"/>
                    <a:pt x="238" y="369"/>
                    <a:pt x="238" y="281"/>
                  </a:cubicBezTo>
                  <a:cubicBezTo>
                    <a:pt x="238" y="197"/>
                    <a:pt x="194" y="143"/>
                    <a:pt x="133" y="143"/>
                  </a:cubicBezTo>
                  <a:cubicBezTo>
                    <a:pt x="77" y="143"/>
                    <a:pt x="25" y="184"/>
                    <a:pt x="25" y="282"/>
                  </a:cubicBezTo>
                  <a:cubicBezTo>
                    <a:pt x="25" y="351"/>
                    <a:pt x="59" y="420"/>
                    <a:pt x="130" y="420"/>
                  </a:cubicBezTo>
                  <a:moveTo>
                    <a:pt x="0" y="0"/>
                  </a:moveTo>
                  <a:cubicBezTo>
                    <a:pt x="26" y="0"/>
                    <a:pt x="26" y="0"/>
                    <a:pt x="26" y="0"/>
                  </a:cubicBezTo>
                  <a:cubicBezTo>
                    <a:pt x="26" y="163"/>
                    <a:pt x="26" y="163"/>
                    <a:pt x="26" y="163"/>
                  </a:cubicBezTo>
                  <a:cubicBezTo>
                    <a:pt x="26" y="177"/>
                    <a:pt x="23" y="188"/>
                    <a:pt x="23" y="188"/>
                  </a:cubicBezTo>
                  <a:cubicBezTo>
                    <a:pt x="24" y="188"/>
                    <a:pt x="24" y="188"/>
                    <a:pt x="24" y="188"/>
                  </a:cubicBezTo>
                  <a:cubicBezTo>
                    <a:pt x="24" y="188"/>
                    <a:pt x="50" y="117"/>
                    <a:pt x="134" y="117"/>
                  </a:cubicBezTo>
                  <a:cubicBezTo>
                    <a:pt x="215" y="117"/>
                    <a:pt x="265" y="185"/>
                    <a:pt x="265" y="281"/>
                  </a:cubicBezTo>
                  <a:cubicBezTo>
                    <a:pt x="265" y="381"/>
                    <a:pt x="208" y="445"/>
                    <a:pt x="129" y="445"/>
                  </a:cubicBezTo>
                  <a:cubicBezTo>
                    <a:pt x="53" y="445"/>
                    <a:pt x="24" y="374"/>
                    <a:pt x="24" y="374"/>
                  </a:cubicBezTo>
                  <a:cubicBezTo>
                    <a:pt x="23" y="374"/>
                    <a:pt x="23" y="374"/>
                    <a:pt x="23" y="374"/>
                  </a:cubicBezTo>
                  <a:cubicBezTo>
                    <a:pt x="23" y="374"/>
                    <a:pt x="26" y="386"/>
                    <a:pt x="26" y="402"/>
                  </a:cubicBezTo>
                  <a:cubicBezTo>
                    <a:pt x="26" y="438"/>
                    <a:pt x="26" y="438"/>
                    <a:pt x="26"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6" name="Freeform 25">
              <a:extLst>
                <a:ext uri="{FF2B5EF4-FFF2-40B4-BE49-F238E27FC236}">
                  <a16:creationId xmlns:a16="http://schemas.microsoft.com/office/drawing/2014/main" id="{26B0DF36-CF8C-F64B-868C-315EDFA22556}"/>
                </a:ext>
              </a:extLst>
            </p:cNvPr>
            <p:cNvSpPr>
              <a:spLocks/>
            </p:cNvSpPr>
            <p:nvPr userDrawn="1"/>
          </p:nvSpPr>
          <p:spPr bwMode="auto">
            <a:xfrm>
              <a:off x="8070851" y="665163"/>
              <a:ext cx="536575" cy="844550"/>
            </a:xfrm>
            <a:custGeom>
              <a:avLst/>
              <a:gdLst>
                <a:gd name="T0" fmla="*/ 12 w 282"/>
                <a:gd name="T1" fmla="*/ 404 h 444"/>
                <a:gd name="T2" fmla="*/ 49 w 282"/>
                <a:gd name="T3" fmla="*/ 419 h 444"/>
                <a:gd name="T4" fmla="*/ 109 w 282"/>
                <a:gd name="T5" fmla="*/ 363 h 444"/>
                <a:gd name="T6" fmla="*/ 131 w 282"/>
                <a:gd name="T7" fmla="*/ 311 h 444"/>
                <a:gd name="T8" fmla="*/ 5 w 282"/>
                <a:gd name="T9" fmla="*/ 0 h 444"/>
                <a:gd name="T10" fmla="*/ 32 w 282"/>
                <a:gd name="T11" fmla="*/ 0 h 444"/>
                <a:gd name="T12" fmla="*/ 132 w 282"/>
                <a:gd name="T13" fmla="*/ 250 h 444"/>
                <a:gd name="T14" fmla="*/ 143 w 282"/>
                <a:gd name="T15" fmla="*/ 279 h 444"/>
                <a:gd name="T16" fmla="*/ 144 w 282"/>
                <a:gd name="T17" fmla="*/ 279 h 444"/>
                <a:gd name="T18" fmla="*/ 155 w 282"/>
                <a:gd name="T19" fmla="*/ 250 h 444"/>
                <a:gd name="T20" fmla="*/ 255 w 282"/>
                <a:gd name="T21" fmla="*/ 0 h 444"/>
                <a:gd name="T22" fmla="*/ 282 w 282"/>
                <a:gd name="T23" fmla="*/ 0 h 444"/>
                <a:gd name="T24" fmla="*/ 126 w 282"/>
                <a:gd name="T25" fmla="*/ 386 h 444"/>
                <a:gd name="T26" fmla="*/ 49 w 282"/>
                <a:gd name="T27" fmla="*/ 444 h 444"/>
                <a:gd name="T28" fmla="*/ 0 w 282"/>
                <a:gd name="T29" fmla="*/ 426 h 444"/>
                <a:gd name="T30" fmla="*/ 12 w 282"/>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444">
                  <a:moveTo>
                    <a:pt x="12" y="404"/>
                  </a:moveTo>
                  <a:cubicBezTo>
                    <a:pt x="12" y="404"/>
                    <a:pt x="29" y="419"/>
                    <a:pt x="49" y="419"/>
                  </a:cubicBezTo>
                  <a:cubicBezTo>
                    <a:pt x="78" y="419"/>
                    <a:pt x="97" y="392"/>
                    <a:pt x="109" y="363"/>
                  </a:cubicBezTo>
                  <a:cubicBezTo>
                    <a:pt x="131" y="311"/>
                    <a:pt x="131" y="311"/>
                    <a:pt x="131" y="311"/>
                  </a:cubicBezTo>
                  <a:cubicBezTo>
                    <a:pt x="5" y="0"/>
                    <a:pt x="5" y="0"/>
                    <a:pt x="5" y="0"/>
                  </a:cubicBezTo>
                  <a:cubicBezTo>
                    <a:pt x="32" y="0"/>
                    <a:pt x="32" y="0"/>
                    <a:pt x="32" y="0"/>
                  </a:cubicBezTo>
                  <a:cubicBezTo>
                    <a:pt x="132" y="250"/>
                    <a:pt x="132" y="250"/>
                    <a:pt x="132" y="250"/>
                  </a:cubicBezTo>
                  <a:cubicBezTo>
                    <a:pt x="138" y="264"/>
                    <a:pt x="143" y="279"/>
                    <a:pt x="143" y="279"/>
                  </a:cubicBezTo>
                  <a:cubicBezTo>
                    <a:pt x="144" y="279"/>
                    <a:pt x="144" y="279"/>
                    <a:pt x="144" y="279"/>
                  </a:cubicBezTo>
                  <a:cubicBezTo>
                    <a:pt x="144" y="279"/>
                    <a:pt x="149" y="264"/>
                    <a:pt x="155" y="250"/>
                  </a:cubicBezTo>
                  <a:cubicBezTo>
                    <a:pt x="255" y="0"/>
                    <a:pt x="255" y="0"/>
                    <a:pt x="255" y="0"/>
                  </a:cubicBezTo>
                  <a:cubicBezTo>
                    <a:pt x="282" y="0"/>
                    <a:pt x="282" y="0"/>
                    <a:pt x="282" y="0"/>
                  </a:cubicBezTo>
                  <a:cubicBezTo>
                    <a:pt x="126" y="386"/>
                    <a:pt x="126" y="386"/>
                    <a:pt x="126" y="386"/>
                  </a:cubicBezTo>
                  <a:cubicBezTo>
                    <a:pt x="113" y="418"/>
                    <a:pt x="88" y="444"/>
                    <a:pt x="49" y="444"/>
                  </a:cubicBezTo>
                  <a:cubicBezTo>
                    <a:pt x="20" y="444"/>
                    <a:pt x="0" y="426"/>
                    <a:pt x="0" y="426"/>
                  </a:cubicBezTo>
                  <a:lnTo>
                    <a:pt x="12"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7" name="Freeform 26">
              <a:extLst>
                <a:ext uri="{FF2B5EF4-FFF2-40B4-BE49-F238E27FC236}">
                  <a16:creationId xmlns:a16="http://schemas.microsoft.com/office/drawing/2014/main" id="{C9A501CD-50DC-4C41-B5EC-4084625A728E}"/>
                </a:ext>
              </a:extLst>
            </p:cNvPr>
            <p:cNvSpPr>
              <a:spLocks noEditPoints="1"/>
            </p:cNvSpPr>
            <p:nvPr userDrawn="1"/>
          </p:nvSpPr>
          <p:spPr bwMode="auto">
            <a:xfrm>
              <a:off x="8963026" y="644526"/>
              <a:ext cx="552450" cy="854075"/>
            </a:xfrm>
            <a:custGeom>
              <a:avLst/>
              <a:gdLst>
                <a:gd name="T0" fmla="*/ 143 w 291"/>
                <a:gd name="T1" fmla="*/ 279 h 449"/>
                <a:gd name="T2" fmla="*/ 231 w 291"/>
                <a:gd name="T3" fmla="*/ 166 h 449"/>
                <a:gd name="T4" fmla="*/ 145 w 291"/>
                <a:gd name="T5" fmla="*/ 53 h 449"/>
                <a:gd name="T6" fmla="*/ 57 w 291"/>
                <a:gd name="T7" fmla="*/ 167 h 449"/>
                <a:gd name="T8" fmla="*/ 143 w 291"/>
                <a:gd name="T9" fmla="*/ 279 h 449"/>
                <a:gd name="T10" fmla="*/ 0 w 291"/>
                <a:gd name="T11" fmla="*/ 7 h 449"/>
                <a:gd name="T12" fmla="*/ 54 w 291"/>
                <a:gd name="T13" fmla="*/ 7 h 449"/>
                <a:gd name="T14" fmla="*/ 54 w 291"/>
                <a:gd name="T15" fmla="*/ 34 h 449"/>
                <a:gd name="T16" fmla="*/ 52 w 291"/>
                <a:gd name="T17" fmla="*/ 57 h 449"/>
                <a:gd name="T18" fmla="*/ 54 w 291"/>
                <a:gd name="T19" fmla="*/ 57 h 449"/>
                <a:gd name="T20" fmla="*/ 156 w 291"/>
                <a:gd name="T21" fmla="*/ 0 h 449"/>
                <a:gd name="T22" fmla="*/ 291 w 291"/>
                <a:gd name="T23" fmla="*/ 165 h 449"/>
                <a:gd name="T24" fmla="*/ 152 w 291"/>
                <a:gd name="T25" fmla="*/ 331 h 449"/>
                <a:gd name="T26" fmla="*/ 58 w 291"/>
                <a:gd name="T27" fmla="*/ 279 h 449"/>
                <a:gd name="T28" fmla="*/ 57 w 291"/>
                <a:gd name="T29" fmla="*/ 279 h 449"/>
                <a:gd name="T30" fmla="*/ 58 w 291"/>
                <a:gd name="T31" fmla="*/ 307 h 449"/>
                <a:gd name="T32" fmla="*/ 58 w 291"/>
                <a:gd name="T33" fmla="*/ 449 h 449"/>
                <a:gd name="T34" fmla="*/ 0 w 291"/>
                <a:gd name="T35" fmla="*/ 449 h 449"/>
                <a:gd name="T36" fmla="*/ 0 w 291"/>
                <a:gd name="T37" fmla="*/ 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449">
                  <a:moveTo>
                    <a:pt x="143" y="279"/>
                  </a:moveTo>
                  <a:cubicBezTo>
                    <a:pt x="192" y="279"/>
                    <a:pt x="231" y="238"/>
                    <a:pt x="231" y="166"/>
                  </a:cubicBezTo>
                  <a:cubicBezTo>
                    <a:pt x="231" y="97"/>
                    <a:pt x="196" y="53"/>
                    <a:pt x="145" y="53"/>
                  </a:cubicBezTo>
                  <a:cubicBezTo>
                    <a:pt x="99" y="53"/>
                    <a:pt x="57" y="86"/>
                    <a:pt x="57" y="167"/>
                  </a:cubicBezTo>
                  <a:cubicBezTo>
                    <a:pt x="57" y="223"/>
                    <a:pt x="87" y="279"/>
                    <a:pt x="143" y="279"/>
                  </a:cubicBezTo>
                  <a:moveTo>
                    <a:pt x="0" y="7"/>
                  </a:moveTo>
                  <a:cubicBezTo>
                    <a:pt x="54" y="7"/>
                    <a:pt x="54" y="7"/>
                    <a:pt x="54" y="7"/>
                  </a:cubicBezTo>
                  <a:cubicBezTo>
                    <a:pt x="54" y="34"/>
                    <a:pt x="54" y="34"/>
                    <a:pt x="54" y="34"/>
                  </a:cubicBezTo>
                  <a:cubicBezTo>
                    <a:pt x="54" y="47"/>
                    <a:pt x="52" y="57"/>
                    <a:pt x="52" y="57"/>
                  </a:cubicBezTo>
                  <a:cubicBezTo>
                    <a:pt x="54" y="57"/>
                    <a:pt x="54" y="57"/>
                    <a:pt x="54" y="57"/>
                  </a:cubicBezTo>
                  <a:cubicBezTo>
                    <a:pt x="54" y="57"/>
                    <a:pt x="80" y="0"/>
                    <a:pt x="156" y="0"/>
                  </a:cubicBezTo>
                  <a:cubicBezTo>
                    <a:pt x="239" y="0"/>
                    <a:pt x="291" y="67"/>
                    <a:pt x="291" y="165"/>
                  </a:cubicBezTo>
                  <a:cubicBezTo>
                    <a:pt x="291" y="266"/>
                    <a:pt x="232" y="331"/>
                    <a:pt x="152" y="331"/>
                  </a:cubicBezTo>
                  <a:cubicBezTo>
                    <a:pt x="85" y="331"/>
                    <a:pt x="58" y="279"/>
                    <a:pt x="58" y="279"/>
                  </a:cubicBezTo>
                  <a:cubicBezTo>
                    <a:pt x="57" y="279"/>
                    <a:pt x="57" y="279"/>
                    <a:pt x="57" y="279"/>
                  </a:cubicBezTo>
                  <a:cubicBezTo>
                    <a:pt x="57" y="279"/>
                    <a:pt x="58" y="290"/>
                    <a:pt x="58" y="307"/>
                  </a:cubicBezTo>
                  <a:cubicBezTo>
                    <a:pt x="58" y="449"/>
                    <a:pt x="58" y="449"/>
                    <a:pt x="58" y="449"/>
                  </a:cubicBezTo>
                  <a:cubicBezTo>
                    <a:pt x="0" y="449"/>
                    <a:pt x="0" y="449"/>
                    <a:pt x="0" y="449"/>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8" name="Freeform 27">
              <a:extLst>
                <a:ext uri="{FF2B5EF4-FFF2-40B4-BE49-F238E27FC236}">
                  <a16:creationId xmlns:a16="http://schemas.microsoft.com/office/drawing/2014/main" id="{CECF1E0C-C1EE-6D40-BC57-E548CF3855D9}"/>
                </a:ext>
              </a:extLst>
            </p:cNvPr>
            <p:cNvSpPr>
              <a:spLocks noEditPoints="1"/>
            </p:cNvSpPr>
            <p:nvPr userDrawn="1"/>
          </p:nvSpPr>
          <p:spPr bwMode="auto">
            <a:xfrm>
              <a:off x="9561513" y="644526"/>
              <a:ext cx="485775" cy="630238"/>
            </a:xfrm>
            <a:custGeom>
              <a:avLst/>
              <a:gdLst>
                <a:gd name="T0" fmla="*/ 116 w 256"/>
                <a:gd name="T1" fmla="*/ 282 h 331"/>
                <a:gd name="T2" fmla="*/ 198 w 256"/>
                <a:gd name="T3" fmla="*/ 182 h 331"/>
                <a:gd name="T4" fmla="*/ 198 w 256"/>
                <a:gd name="T5" fmla="*/ 172 h 331"/>
                <a:gd name="T6" fmla="*/ 183 w 256"/>
                <a:gd name="T7" fmla="*/ 172 h 331"/>
                <a:gd name="T8" fmla="*/ 59 w 256"/>
                <a:gd name="T9" fmla="*/ 232 h 331"/>
                <a:gd name="T10" fmla="*/ 116 w 256"/>
                <a:gd name="T11" fmla="*/ 282 h 331"/>
                <a:gd name="T12" fmla="*/ 184 w 256"/>
                <a:gd name="T13" fmla="*/ 126 h 331"/>
                <a:gd name="T14" fmla="*/ 198 w 256"/>
                <a:gd name="T15" fmla="*/ 126 h 331"/>
                <a:gd name="T16" fmla="*/ 198 w 256"/>
                <a:gd name="T17" fmla="*/ 120 h 331"/>
                <a:gd name="T18" fmla="*/ 130 w 256"/>
                <a:gd name="T19" fmla="*/ 51 h 331"/>
                <a:gd name="T20" fmla="*/ 45 w 256"/>
                <a:gd name="T21" fmla="*/ 82 h 331"/>
                <a:gd name="T22" fmla="*/ 21 w 256"/>
                <a:gd name="T23" fmla="*/ 37 h 331"/>
                <a:gd name="T24" fmla="*/ 135 w 256"/>
                <a:gd name="T25" fmla="*/ 0 h 331"/>
                <a:gd name="T26" fmla="*/ 256 w 256"/>
                <a:gd name="T27" fmla="*/ 124 h 331"/>
                <a:gd name="T28" fmla="*/ 256 w 256"/>
                <a:gd name="T29" fmla="*/ 324 h 331"/>
                <a:gd name="T30" fmla="*/ 202 w 256"/>
                <a:gd name="T31" fmla="*/ 324 h 331"/>
                <a:gd name="T32" fmla="*/ 202 w 256"/>
                <a:gd name="T33" fmla="*/ 294 h 331"/>
                <a:gd name="T34" fmla="*/ 203 w 256"/>
                <a:gd name="T35" fmla="*/ 269 h 331"/>
                <a:gd name="T36" fmla="*/ 202 w 256"/>
                <a:gd name="T37" fmla="*/ 269 h 331"/>
                <a:gd name="T38" fmla="*/ 104 w 256"/>
                <a:gd name="T39" fmla="*/ 331 h 331"/>
                <a:gd name="T40" fmla="*/ 0 w 256"/>
                <a:gd name="T41" fmla="*/ 235 h 331"/>
                <a:gd name="T42" fmla="*/ 184 w 256"/>
                <a:gd name="T4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6" h="331">
                  <a:moveTo>
                    <a:pt x="116" y="282"/>
                  </a:moveTo>
                  <a:cubicBezTo>
                    <a:pt x="166" y="282"/>
                    <a:pt x="198" y="229"/>
                    <a:pt x="198" y="182"/>
                  </a:cubicBezTo>
                  <a:cubicBezTo>
                    <a:pt x="198" y="172"/>
                    <a:pt x="198" y="172"/>
                    <a:pt x="198" y="172"/>
                  </a:cubicBezTo>
                  <a:cubicBezTo>
                    <a:pt x="183" y="172"/>
                    <a:pt x="183" y="172"/>
                    <a:pt x="183" y="172"/>
                  </a:cubicBezTo>
                  <a:cubicBezTo>
                    <a:pt x="139" y="172"/>
                    <a:pt x="59" y="175"/>
                    <a:pt x="59" y="232"/>
                  </a:cubicBezTo>
                  <a:cubicBezTo>
                    <a:pt x="59" y="257"/>
                    <a:pt x="78" y="282"/>
                    <a:pt x="116" y="282"/>
                  </a:cubicBezTo>
                  <a:moveTo>
                    <a:pt x="184" y="126"/>
                  </a:moveTo>
                  <a:cubicBezTo>
                    <a:pt x="198" y="126"/>
                    <a:pt x="198" y="126"/>
                    <a:pt x="198" y="126"/>
                  </a:cubicBezTo>
                  <a:cubicBezTo>
                    <a:pt x="198" y="120"/>
                    <a:pt x="198" y="120"/>
                    <a:pt x="198" y="120"/>
                  </a:cubicBezTo>
                  <a:cubicBezTo>
                    <a:pt x="198" y="68"/>
                    <a:pt x="169" y="51"/>
                    <a:pt x="130" y="51"/>
                  </a:cubicBezTo>
                  <a:cubicBezTo>
                    <a:pt x="83" y="51"/>
                    <a:pt x="45" y="82"/>
                    <a:pt x="45" y="82"/>
                  </a:cubicBezTo>
                  <a:cubicBezTo>
                    <a:pt x="21" y="37"/>
                    <a:pt x="21" y="37"/>
                    <a:pt x="21" y="37"/>
                  </a:cubicBezTo>
                  <a:cubicBezTo>
                    <a:pt x="21" y="37"/>
                    <a:pt x="65" y="0"/>
                    <a:pt x="135" y="0"/>
                  </a:cubicBezTo>
                  <a:cubicBezTo>
                    <a:pt x="213" y="0"/>
                    <a:pt x="256" y="44"/>
                    <a:pt x="256" y="124"/>
                  </a:cubicBezTo>
                  <a:cubicBezTo>
                    <a:pt x="256" y="324"/>
                    <a:pt x="256" y="324"/>
                    <a:pt x="256" y="324"/>
                  </a:cubicBezTo>
                  <a:cubicBezTo>
                    <a:pt x="202" y="324"/>
                    <a:pt x="202" y="324"/>
                    <a:pt x="202" y="324"/>
                  </a:cubicBezTo>
                  <a:cubicBezTo>
                    <a:pt x="202" y="294"/>
                    <a:pt x="202" y="294"/>
                    <a:pt x="202" y="294"/>
                  </a:cubicBezTo>
                  <a:cubicBezTo>
                    <a:pt x="202" y="279"/>
                    <a:pt x="203" y="269"/>
                    <a:pt x="203" y="269"/>
                  </a:cubicBezTo>
                  <a:cubicBezTo>
                    <a:pt x="202" y="269"/>
                    <a:pt x="202" y="269"/>
                    <a:pt x="202" y="269"/>
                  </a:cubicBezTo>
                  <a:cubicBezTo>
                    <a:pt x="202" y="269"/>
                    <a:pt x="177" y="331"/>
                    <a:pt x="104" y="331"/>
                  </a:cubicBezTo>
                  <a:cubicBezTo>
                    <a:pt x="51" y="331"/>
                    <a:pt x="0" y="298"/>
                    <a:pt x="0" y="235"/>
                  </a:cubicBezTo>
                  <a:cubicBezTo>
                    <a:pt x="0" y="130"/>
                    <a:pt x="133" y="126"/>
                    <a:pt x="184" y="126"/>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9" name="Freeform 28">
              <a:extLst>
                <a:ext uri="{FF2B5EF4-FFF2-40B4-BE49-F238E27FC236}">
                  <a16:creationId xmlns:a16="http://schemas.microsoft.com/office/drawing/2014/main" id="{B3857B15-7810-354A-89E2-EF08926021DE}"/>
                </a:ext>
              </a:extLst>
            </p:cNvPr>
            <p:cNvSpPr>
              <a:spLocks/>
            </p:cNvSpPr>
            <p:nvPr userDrawn="1"/>
          </p:nvSpPr>
          <p:spPr bwMode="auto">
            <a:xfrm>
              <a:off x="10104438" y="492126"/>
              <a:ext cx="338138" cy="773113"/>
            </a:xfrm>
            <a:custGeom>
              <a:avLst/>
              <a:gdLst>
                <a:gd name="T0" fmla="*/ 40 w 178"/>
                <a:gd name="T1" fmla="*/ 140 h 406"/>
                <a:gd name="T2" fmla="*/ 0 w 178"/>
                <a:gd name="T3" fmla="*/ 140 h 406"/>
                <a:gd name="T4" fmla="*/ 0 w 178"/>
                <a:gd name="T5" fmla="*/ 92 h 406"/>
                <a:gd name="T6" fmla="*/ 42 w 178"/>
                <a:gd name="T7" fmla="*/ 92 h 406"/>
                <a:gd name="T8" fmla="*/ 42 w 178"/>
                <a:gd name="T9" fmla="*/ 0 h 406"/>
                <a:gd name="T10" fmla="*/ 99 w 178"/>
                <a:gd name="T11" fmla="*/ 0 h 406"/>
                <a:gd name="T12" fmla="*/ 99 w 178"/>
                <a:gd name="T13" fmla="*/ 92 h 406"/>
                <a:gd name="T14" fmla="*/ 173 w 178"/>
                <a:gd name="T15" fmla="*/ 92 h 406"/>
                <a:gd name="T16" fmla="*/ 173 w 178"/>
                <a:gd name="T17" fmla="*/ 140 h 406"/>
                <a:gd name="T18" fmla="*/ 99 w 178"/>
                <a:gd name="T19" fmla="*/ 140 h 406"/>
                <a:gd name="T20" fmla="*/ 99 w 178"/>
                <a:gd name="T21" fmla="*/ 281 h 406"/>
                <a:gd name="T22" fmla="*/ 164 w 178"/>
                <a:gd name="T23" fmla="*/ 352 h 406"/>
                <a:gd name="T24" fmla="*/ 178 w 178"/>
                <a:gd name="T25" fmla="*/ 351 h 406"/>
                <a:gd name="T26" fmla="*/ 178 w 178"/>
                <a:gd name="T27" fmla="*/ 405 h 406"/>
                <a:gd name="T28" fmla="*/ 158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2" y="92"/>
                    <a:pt x="42" y="92"/>
                    <a:pt x="42" y="92"/>
                  </a:cubicBezTo>
                  <a:cubicBezTo>
                    <a:pt x="42" y="0"/>
                    <a:pt x="42" y="0"/>
                    <a:pt x="42" y="0"/>
                  </a:cubicBezTo>
                  <a:cubicBezTo>
                    <a:pt x="99" y="0"/>
                    <a:pt x="99" y="0"/>
                    <a:pt x="99" y="0"/>
                  </a:cubicBezTo>
                  <a:cubicBezTo>
                    <a:pt x="99" y="92"/>
                    <a:pt x="99" y="92"/>
                    <a:pt x="99" y="92"/>
                  </a:cubicBezTo>
                  <a:cubicBezTo>
                    <a:pt x="173" y="92"/>
                    <a:pt x="173" y="92"/>
                    <a:pt x="173" y="92"/>
                  </a:cubicBezTo>
                  <a:cubicBezTo>
                    <a:pt x="173" y="140"/>
                    <a:pt x="173" y="140"/>
                    <a:pt x="173" y="140"/>
                  </a:cubicBezTo>
                  <a:cubicBezTo>
                    <a:pt x="99" y="140"/>
                    <a:pt x="99" y="140"/>
                    <a:pt x="99" y="140"/>
                  </a:cubicBezTo>
                  <a:cubicBezTo>
                    <a:pt x="99" y="281"/>
                    <a:pt x="99" y="281"/>
                    <a:pt x="99" y="281"/>
                  </a:cubicBezTo>
                  <a:cubicBezTo>
                    <a:pt x="99" y="344"/>
                    <a:pt x="142" y="352"/>
                    <a:pt x="164" y="352"/>
                  </a:cubicBezTo>
                  <a:cubicBezTo>
                    <a:pt x="173" y="352"/>
                    <a:pt x="178" y="351"/>
                    <a:pt x="178" y="351"/>
                  </a:cubicBezTo>
                  <a:cubicBezTo>
                    <a:pt x="178" y="405"/>
                    <a:pt x="178" y="405"/>
                    <a:pt x="178" y="405"/>
                  </a:cubicBezTo>
                  <a:cubicBezTo>
                    <a:pt x="178" y="405"/>
                    <a:pt x="170" y="406"/>
                    <a:pt x="158"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0" name="Freeform 29">
              <a:extLst>
                <a:ext uri="{FF2B5EF4-FFF2-40B4-BE49-F238E27FC236}">
                  <a16:creationId xmlns:a16="http://schemas.microsoft.com/office/drawing/2014/main" id="{F1D49850-3AEE-D14C-B2C7-4D37D3816C07}"/>
                </a:ext>
              </a:extLst>
            </p:cNvPr>
            <p:cNvSpPr>
              <a:spLocks noEditPoints="1"/>
            </p:cNvSpPr>
            <p:nvPr userDrawn="1"/>
          </p:nvSpPr>
          <p:spPr bwMode="auto">
            <a:xfrm>
              <a:off x="10509251" y="419101"/>
              <a:ext cx="111125" cy="841375"/>
            </a:xfrm>
            <a:custGeom>
              <a:avLst/>
              <a:gdLst>
                <a:gd name="T0" fmla="*/ 1 w 70"/>
                <a:gd name="T1" fmla="*/ 150 h 530"/>
                <a:gd name="T2" fmla="*/ 70 w 70"/>
                <a:gd name="T3" fmla="*/ 150 h 530"/>
                <a:gd name="T4" fmla="*/ 70 w 70"/>
                <a:gd name="T5" fmla="*/ 530 h 530"/>
                <a:gd name="T6" fmla="*/ 1 w 70"/>
                <a:gd name="T7" fmla="*/ 530 h 530"/>
                <a:gd name="T8" fmla="*/ 1 w 70"/>
                <a:gd name="T9" fmla="*/ 150 h 530"/>
                <a:gd name="T10" fmla="*/ 0 w 70"/>
                <a:gd name="T11" fmla="*/ 0 h 530"/>
                <a:gd name="T12" fmla="*/ 70 w 70"/>
                <a:gd name="T13" fmla="*/ 0 h 530"/>
                <a:gd name="T14" fmla="*/ 70 w 70"/>
                <a:gd name="T15" fmla="*/ 75 h 530"/>
                <a:gd name="T16" fmla="*/ 0 w 70"/>
                <a:gd name="T17" fmla="*/ 75 h 530"/>
                <a:gd name="T18" fmla="*/ 0 w 70"/>
                <a:gd name="T19"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530">
                  <a:moveTo>
                    <a:pt x="1" y="150"/>
                  </a:moveTo>
                  <a:lnTo>
                    <a:pt x="70" y="150"/>
                  </a:lnTo>
                  <a:lnTo>
                    <a:pt x="70" y="530"/>
                  </a:lnTo>
                  <a:lnTo>
                    <a:pt x="1" y="530"/>
                  </a:lnTo>
                  <a:lnTo>
                    <a:pt x="1" y="150"/>
                  </a:lnTo>
                  <a:close/>
                  <a:moveTo>
                    <a:pt x="0" y="0"/>
                  </a:moveTo>
                  <a:lnTo>
                    <a:pt x="70" y="0"/>
                  </a:lnTo>
                  <a:lnTo>
                    <a:pt x="70" y="75"/>
                  </a:lnTo>
                  <a:lnTo>
                    <a:pt x="0" y="7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1" name="Freeform 30">
              <a:extLst>
                <a:ext uri="{FF2B5EF4-FFF2-40B4-BE49-F238E27FC236}">
                  <a16:creationId xmlns:a16="http://schemas.microsoft.com/office/drawing/2014/main" id="{74A44C2A-96B4-4248-8A34-D000EBCE25C2}"/>
                </a:ext>
              </a:extLst>
            </p:cNvPr>
            <p:cNvSpPr>
              <a:spLocks noEditPoints="1"/>
            </p:cNvSpPr>
            <p:nvPr userDrawn="1"/>
          </p:nvSpPr>
          <p:spPr bwMode="auto">
            <a:xfrm>
              <a:off x="10712451" y="644526"/>
              <a:ext cx="542925" cy="630238"/>
            </a:xfrm>
            <a:custGeom>
              <a:avLst/>
              <a:gdLst>
                <a:gd name="T0" fmla="*/ 226 w 286"/>
                <a:gd name="T1" fmla="*/ 129 h 331"/>
                <a:gd name="T2" fmla="*/ 152 w 286"/>
                <a:gd name="T3" fmla="*/ 48 h 331"/>
                <a:gd name="T4" fmla="*/ 63 w 286"/>
                <a:gd name="T5" fmla="*/ 129 h 331"/>
                <a:gd name="T6" fmla="*/ 226 w 286"/>
                <a:gd name="T7" fmla="*/ 129 h 331"/>
                <a:gd name="T8" fmla="*/ 153 w 286"/>
                <a:gd name="T9" fmla="*/ 0 h 331"/>
                <a:gd name="T10" fmla="*/ 286 w 286"/>
                <a:gd name="T11" fmla="*/ 148 h 331"/>
                <a:gd name="T12" fmla="*/ 284 w 286"/>
                <a:gd name="T13" fmla="*/ 174 h 331"/>
                <a:gd name="T14" fmla="*/ 61 w 286"/>
                <a:gd name="T15" fmla="*/ 174 h 331"/>
                <a:gd name="T16" fmla="*/ 166 w 286"/>
                <a:gd name="T17" fmla="*/ 279 h 331"/>
                <a:gd name="T18" fmla="*/ 257 w 286"/>
                <a:gd name="T19" fmla="*/ 242 h 331"/>
                <a:gd name="T20" fmla="*/ 281 w 286"/>
                <a:gd name="T21" fmla="*/ 286 h 331"/>
                <a:gd name="T22" fmla="*/ 162 w 286"/>
                <a:gd name="T23" fmla="*/ 331 h 331"/>
                <a:gd name="T24" fmla="*/ 0 w 286"/>
                <a:gd name="T25" fmla="*/ 165 h 331"/>
                <a:gd name="T26" fmla="*/ 153 w 286"/>
                <a:gd name="T2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1">
                  <a:moveTo>
                    <a:pt x="226" y="129"/>
                  </a:moveTo>
                  <a:cubicBezTo>
                    <a:pt x="224" y="74"/>
                    <a:pt x="192" y="48"/>
                    <a:pt x="152" y="48"/>
                  </a:cubicBezTo>
                  <a:cubicBezTo>
                    <a:pt x="107" y="48"/>
                    <a:pt x="71" y="77"/>
                    <a:pt x="63" y="129"/>
                  </a:cubicBezTo>
                  <a:lnTo>
                    <a:pt x="226" y="129"/>
                  </a:lnTo>
                  <a:close/>
                  <a:moveTo>
                    <a:pt x="153" y="0"/>
                  </a:moveTo>
                  <a:cubicBezTo>
                    <a:pt x="240" y="0"/>
                    <a:pt x="286" y="66"/>
                    <a:pt x="286" y="148"/>
                  </a:cubicBezTo>
                  <a:cubicBezTo>
                    <a:pt x="286" y="156"/>
                    <a:pt x="284" y="174"/>
                    <a:pt x="284" y="174"/>
                  </a:cubicBezTo>
                  <a:cubicBezTo>
                    <a:pt x="61" y="174"/>
                    <a:pt x="61" y="174"/>
                    <a:pt x="61" y="174"/>
                  </a:cubicBezTo>
                  <a:cubicBezTo>
                    <a:pt x="64" y="244"/>
                    <a:pt x="112" y="279"/>
                    <a:pt x="166" y="279"/>
                  </a:cubicBezTo>
                  <a:cubicBezTo>
                    <a:pt x="219" y="279"/>
                    <a:pt x="257" y="242"/>
                    <a:pt x="257" y="242"/>
                  </a:cubicBezTo>
                  <a:cubicBezTo>
                    <a:pt x="281" y="286"/>
                    <a:pt x="281" y="286"/>
                    <a:pt x="281" y="286"/>
                  </a:cubicBezTo>
                  <a:cubicBezTo>
                    <a:pt x="281" y="286"/>
                    <a:pt x="236" y="331"/>
                    <a:pt x="162" y="331"/>
                  </a:cubicBezTo>
                  <a:cubicBezTo>
                    <a:pt x="66" y="331"/>
                    <a:pt x="0" y="259"/>
                    <a:pt x="0" y="165"/>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2" name="Freeform 31">
              <a:extLst>
                <a:ext uri="{FF2B5EF4-FFF2-40B4-BE49-F238E27FC236}">
                  <a16:creationId xmlns:a16="http://schemas.microsoft.com/office/drawing/2014/main" id="{F4755EDA-8017-9E40-9B19-72FC8A16C890}"/>
                </a:ext>
              </a:extLst>
            </p:cNvPr>
            <p:cNvSpPr>
              <a:spLocks/>
            </p:cNvSpPr>
            <p:nvPr userDrawn="1"/>
          </p:nvSpPr>
          <p:spPr bwMode="auto">
            <a:xfrm>
              <a:off x="11350626" y="644526"/>
              <a:ext cx="527050" cy="615950"/>
            </a:xfrm>
            <a:custGeom>
              <a:avLst/>
              <a:gdLst>
                <a:gd name="T0" fmla="*/ 0 w 277"/>
                <a:gd name="T1" fmla="*/ 7 h 324"/>
                <a:gd name="T2" fmla="*/ 56 w 277"/>
                <a:gd name="T3" fmla="*/ 7 h 324"/>
                <a:gd name="T4" fmla="*/ 56 w 277"/>
                <a:gd name="T5" fmla="*/ 49 h 324"/>
                <a:gd name="T6" fmla="*/ 55 w 277"/>
                <a:gd name="T7" fmla="*/ 72 h 324"/>
                <a:gd name="T8" fmla="*/ 56 w 277"/>
                <a:gd name="T9" fmla="*/ 72 h 324"/>
                <a:gd name="T10" fmla="*/ 171 w 277"/>
                <a:gd name="T11" fmla="*/ 0 h 324"/>
                <a:gd name="T12" fmla="*/ 277 w 277"/>
                <a:gd name="T13" fmla="*/ 121 h 324"/>
                <a:gd name="T14" fmla="*/ 277 w 277"/>
                <a:gd name="T15" fmla="*/ 324 h 324"/>
                <a:gd name="T16" fmla="*/ 218 w 277"/>
                <a:gd name="T17" fmla="*/ 324 h 324"/>
                <a:gd name="T18" fmla="*/ 218 w 277"/>
                <a:gd name="T19" fmla="*/ 135 h 324"/>
                <a:gd name="T20" fmla="*/ 160 w 277"/>
                <a:gd name="T21" fmla="*/ 55 h 324"/>
                <a:gd name="T22" fmla="*/ 63 w 277"/>
                <a:gd name="T23" fmla="*/ 133 h 324"/>
                <a:gd name="T24" fmla="*/ 58 w 277"/>
                <a:gd name="T25" fmla="*/ 175 h 324"/>
                <a:gd name="T26" fmla="*/ 58 w 277"/>
                <a:gd name="T27" fmla="*/ 324 h 324"/>
                <a:gd name="T28" fmla="*/ 0 w 277"/>
                <a:gd name="T29" fmla="*/ 324 h 324"/>
                <a:gd name="T30" fmla="*/ 0 w 277"/>
                <a:gd name="T31" fmla="*/ 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7"/>
                  </a:moveTo>
                  <a:cubicBezTo>
                    <a:pt x="56" y="7"/>
                    <a:pt x="56" y="7"/>
                    <a:pt x="56" y="7"/>
                  </a:cubicBezTo>
                  <a:cubicBezTo>
                    <a:pt x="56" y="49"/>
                    <a:pt x="56" y="49"/>
                    <a:pt x="56" y="49"/>
                  </a:cubicBezTo>
                  <a:cubicBezTo>
                    <a:pt x="56" y="62"/>
                    <a:pt x="55" y="72"/>
                    <a:pt x="55" y="72"/>
                  </a:cubicBezTo>
                  <a:cubicBezTo>
                    <a:pt x="56" y="72"/>
                    <a:pt x="56" y="72"/>
                    <a:pt x="56" y="72"/>
                  </a:cubicBezTo>
                  <a:cubicBezTo>
                    <a:pt x="69" y="45"/>
                    <a:pt x="105" y="0"/>
                    <a:pt x="171" y="0"/>
                  </a:cubicBezTo>
                  <a:cubicBezTo>
                    <a:pt x="243" y="0"/>
                    <a:pt x="277" y="40"/>
                    <a:pt x="277" y="121"/>
                  </a:cubicBezTo>
                  <a:cubicBezTo>
                    <a:pt x="277" y="324"/>
                    <a:pt x="277" y="324"/>
                    <a:pt x="277" y="324"/>
                  </a:cubicBezTo>
                  <a:cubicBezTo>
                    <a:pt x="218" y="324"/>
                    <a:pt x="218" y="324"/>
                    <a:pt x="218" y="324"/>
                  </a:cubicBezTo>
                  <a:cubicBezTo>
                    <a:pt x="218" y="135"/>
                    <a:pt x="218" y="135"/>
                    <a:pt x="218" y="135"/>
                  </a:cubicBezTo>
                  <a:cubicBezTo>
                    <a:pt x="218" y="90"/>
                    <a:pt x="209" y="55"/>
                    <a:pt x="160" y="55"/>
                  </a:cubicBezTo>
                  <a:cubicBezTo>
                    <a:pt x="113" y="55"/>
                    <a:pt x="76" y="87"/>
                    <a:pt x="63" y="133"/>
                  </a:cubicBezTo>
                  <a:cubicBezTo>
                    <a:pt x="59" y="145"/>
                    <a:pt x="58" y="160"/>
                    <a:pt x="58" y="175"/>
                  </a:cubicBezTo>
                  <a:cubicBezTo>
                    <a:pt x="58" y="324"/>
                    <a:pt x="58" y="324"/>
                    <a:pt x="58" y="324"/>
                  </a:cubicBezTo>
                  <a:cubicBezTo>
                    <a:pt x="0" y="324"/>
                    <a:pt x="0" y="324"/>
                    <a:pt x="0" y="324"/>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3" name="Freeform 32">
              <a:extLst>
                <a:ext uri="{FF2B5EF4-FFF2-40B4-BE49-F238E27FC236}">
                  <a16:creationId xmlns:a16="http://schemas.microsoft.com/office/drawing/2014/main" id="{0F44D012-F2E4-CA4F-8680-5029FAC208DE}"/>
                </a:ext>
              </a:extLst>
            </p:cNvPr>
            <p:cNvSpPr>
              <a:spLocks/>
            </p:cNvSpPr>
            <p:nvPr userDrawn="1"/>
          </p:nvSpPr>
          <p:spPr bwMode="auto">
            <a:xfrm>
              <a:off x="11933238" y="492126"/>
              <a:ext cx="339725" cy="773113"/>
            </a:xfrm>
            <a:custGeom>
              <a:avLst/>
              <a:gdLst>
                <a:gd name="T0" fmla="*/ 40 w 178"/>
                <a:gd name="T1" fmla="*/ 140 h 406"/>
                <a:gd name="T2" fmla="*/ 0 w 178"/>
                <a:gd name="T3" fmla="*/ 140 h 406"/>
                <a:gd name="T4" fmla="*/ 0 w 178"/>
                <a:gd name="T5" fmla="*/ 92 h 406"/>
                <a:gd name="T6" fmla="*/ 41 w 178"/>
                <a:gd name="T7" fmla="*/ 92 h 406"/>
                <a:gd name="T8" fmla="*/ 41 w 178"/>
                <a:gd name="T9" fmla="*/ 0 h 406"/>
                <a:gd name="T10" fmla="*/ 98 w 178"/>
                <a:gd name="T11" fmla="*/ 0 h 406"/>
                <a:gd name="T12" fmla="*/ 98 w 178"/>
                <a:gd name="T13" fmla="*/ 92 h 406"/>
                <a:gd name="T14" fmla="*/ 172 w 178"/>
                <a:gd name="T15" fmla="*/ 92 h 406"/>
                <a:gd name="T16" fmla="*/ 172 w 178"/>
                <a:gd name="T17" fmla="*/ 140 h 406"/>
                <a:gd name="T18" fmla="*/ 98 w 178"/>
                <a:gd name="T19" fmla="*/ 140 h 406"/>
                <a:gd name="T20" fmla="*/ 98 w 178"/>
                <a:gd name="T21" fmla="*/ 281 h 406"/>
                <a:gd name="T22" fmla="*/ 164 w 178"/>
                <a:gd name="T23" fmla="*/ 352 h 406"/>
                <a:gd name="T24" fmla="*/ 178 w 178"/>
                <a:gd name="T25" fmla="*/ 351 h 406"/>
                <a:gd name="T26" fmla="*/ 178 w 178"/>
                <a:gd name="T27" fmla="*/ 405 h 406"/>
                <a:gd name="T28" fmla="*/ 157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1" y="92"/>
                    <a:pt x="41" y="92"/>
                    <a:pt x="41" y="92"/>
                  </a:cubicBezTo>
                  <a:cubicBezTo>
                    <a:pt x="41" y="0"/>
                    <a:pt x="41" y="0"/>
                    <a:pt x="41" y="0"/>
                  </a:cubicBezTo>
                  <a:cubicBezTo>
                    <a:pt x="98" y="0"/>
                    <a:pt x="98" y="0"/>
                    <a:pt x="98" y="0"/>
                  </a:cubicBezTo>
                  <a:cubicBezTo>
                    <a:pt x="98" y="92"/>
                    <a:pt x="98" y="92"/>
                    <a:pt x="98" y="92"/>
                  </a:cubicBezTo>
                  <a:cubicBezTo>
                    <a:pt x="172" y="92"/>
                    <a:pt x="172" y="92"/>
                    <a:pt x="172" y="92"/>
                  </a:cubicBezTo>
                  <a:cubicBezTo>
                    <a:pt x="172" y="140"/>
                    <a:pt x="172" y="140"/>
                    <a:pt x="172" y="140"/>
                  </a:cubicBezTo>
                  <a:cubicBezTo>
                    <a:pt x="98" y="140"/>
                    <a:pt x="98" y="140"/>
                    <a:pt x="98" y="140"/>
                  </a:cubicBezTo>
                  <a:cubicBezTo>
                    <a:pt x="98" y="281"/>
                    <a:pt x="98" y="281"/>
                    <a:pt x="98" y="281"/>
                  </a:cubicBezTo>
                  <a:cubicBezTo>
                    <a:pt x="98" y="344"/>
                    <a:pt x="141" y="352"/>
                    <a:pt x="164" y="352"/>
                  </a:cubicBezTo>
                  <a:cubicBezTo>
                    <a:pt x="172" y="352"/>
                    <a:pt x="178" y="351"/>
                    <a:pt x="178" y="351"/>
                  </a:cubicBezTo>
                  <a:cubicBezTo>
                    <a:pt x="178" y="405"/>
                    <a:pt x="178" y="405"/>
                    <a:pt x="178" y="405"/>
                  </a:cubicBezTo>
                  <a:cubicBezTo>
                    <a:pt x="178" y="405"/>
                    <a:pt x="169" y="406"/>
                    <a:pt x="157"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4" name="Freeform 33">
              <a:extLst>
                <a:ext uri="{FF2B5EF4-FFF2-40B4-BE49-F238E27FC236}">
                  <a16:creationId xmlns:a16="http://schemas.microsoft.com/office/drawing/2014/main" id="{3F500B03-C9A8-8B4F-A41E-705913BB02FF}"/>
                </a:ext>
              </a:extLst>
            </p:cNvPr>
            <p:cNvSpPr>
              <a:spLocks/>
            </p:cNvSpPr>
            <p:nvPr userDrawn="1"/>
          </p:nvSpPr>
          <p:spPr bwMode="auto">
            <a:xfrm>
              <a:off x="12314238" y="644526"/>
              <a:ext cx="431800" cy="630238"/>
            </a:xfrm>
            <a:custGeom>
              <a:avLst/>
              <a:gdLst>
                <a:gd name="T0" fmla="*/ 28 w 227"/>
                <a:gd name="T1" fmla="*/ 242 h 331"/>
                <a:gd name="T2" fmla="*/ 116 w 227"/>
                <a:gd name="T3" fmla="*/ 279 h 331"/>
                <a:gd name="T4" fmla="*/ 167 w 227"/>
                <a:gd name="T5" fmla="*/ 239 h 331"/>
                <a:gd name="T6" fmla="*/ 10 w 227"/>
                <a:gd name="T7" fmla="*/ 90 h 331"/>
                <a:gd name="T8" fmla="*/ 120 w 227"/>
                <a:gd name="T9" fmla="*/ 0 h 331"/>
                <a:gd name="T10" fmla="*/ 219 w 227"/>
                <a:gd name="T11" fmla="*/ 35 h 331"/>
                <a:gd name="T12" fmla="*/ 195 w 227"/>
                <a:gd name="T13" fmla="*/ 80 h 331"/>
                <a:gd name="T14" fmla="*/ 120 w 227"/>
                <a:gd name="T15" fmla="*/ 52 h 331"/>
                <a:gd name="T16" fmla="*/ 70 w 227"/>
                <a:gd name="T17" fmla="*/ 91 h 331"/>
                <a:gd name="T18" fmla="*/ 227 w 227"/>
                <a:gd name="T19" fmla="*/ 239 h 331"/>
                <a:gd name="T20" fmla="*/ 116 w 227"/>
                <a:gd name="T21" fmla="*/ 331 h 331"/>
                <a:gd name="T22" fmla="*/ 0 w 227"/>
                <a:gd name="T23" fmla="*/ 285 h 331"/>
                <a:gd name="T24" fmla="*/ 28 w 227"/>
                <a:gd name="T25" fmla="*/ 24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1">
                  <a:moveTo>
                    <a:pt x="28" y="242"/>
                  </a:moveTo>
                  <a:cubicBezTo>
                    <a:pt x="28" y="242"/>
                    <a:pt x="63" y="279"/>
                    <a:pt x="116" y="279"/>
                  </a:cubicBezTo>
                  <a:cubicBezTo>
                    <a:pt x="142" y="279"/>
                    <a:pt x="167" y="265"/>
                    <a:pt x="167" y="239"/>
                  </a:cubicBezTo>
                  <a:cubicBezTo>
                    <a:pt x="167" y="181"/>
                    <a:pt x="10" y="193"/>
                    <a:pt x="10" y="90"/>
                  </a:cubicBezTo>
                  <a:cubicBezTo>
                    <a:pt x="10" y="32"/>
                    <a:pt x="59" y="0"/>
                    <a:pt x="120" y="0"/>
                  </a:cubicBezTo>
                  <a:cubicBezTo>
                    <a:pt x="188" y="0"/>
                    <a:pt x="219" y="35"/>
                    <a:pt x="219" y="35"/>
                  </a:cubicBezTo>
                  <a:cubicBezTo>
                    <a:pt x="195" y="80"/>
                    <a:pt x="195" y="80"/>
                    <a:pt x="195" y="80"/>
                  </a:cubicBezTo>
                  <a:cubicBezTo>
                    <a:pt x="195" y="80"/>
                    <a:pt x="168" y="52"/>
                    <a:pt x="120" y="52"/>
                  </a:cubicBezTo>
                  <a:cubicBezTo>
                    <a:pt x="94" y="52"/>
                    <a:pt x="70" y="63"/>
                    <a:pt x="70" y="91"/>
                  </a:cubicBezTo>
                  <a:cubicBezTo>
                    <a:pt x="70" y="148"/>
                    <a:pt x="227" y="135"/>
                    <a:pt x="227" y="239"/>
                  </a:cubicBezTo>
                  <a:cubicBezTo>
                    <a:pt x="227" y="292"/>
                    <a:pt x="183" y="331"/>
                    <a:pt x="116" y="331"/>
                  </a:cubicBezTo>
                  <a:cubicBezTo>
                    <a:pt x="41" y="331"/>
                    <a:pt x="0" y="285"/>
                    <a:pt x="0" y="285"/>
                  </a:cubicBezTo>
                  <a:lnTo>
                    <a:pt x="28"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5" name="Rectangle 34">
              <a:extLst>
                <a:ext uri="{FF2B5EF4-FFF2-40B4-BE49-F238E27FC236}">
                  <a16:creationId xmlns:a16="http://schemas.microsoft.com/office/drawing/2014/main" id="{5E6B8CD7-FE46-E64B-A45A-C2BDC6A48843}"/>
                </a:ext>
              </a:extLst>
            </p:cNvPr>
            <p:cNvSpPr>
              <a:spLocks noChangeArrowheads="1"/>
            </p:cNvSpPr>
            <p:nvPr userDrawn="1"/>
          </p:nvSpPr>
          <p:spPr bwMode="auto">
            <a:xfrm>
              <a:off x="12846051" y="1136651"/>
              <a:ext cx="117475" cy="12382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6" name="Freeform 35">
              <a:extLst>
                <a:ext uri="{FF2B5EF4-FFF2-40B4-BE49-F238E27FC236}">
                  <a16:creationId xmlns:a16="http://schemas.microsoft.com/office/drawing/2014/main" id="{66AE5195-2C96-B24D-9B92-F3329D0C284A}"/>
                </a:ext>
              </a:extLst>
            </p:cNvPr>
            <p:cNvSpPr>
              <a:spLocks noEditPoints="1"/>
            </p:cNvSpPr>
            <p:nvPr userDrawn="1"/>
          </p:nvSpPr>
          <p:spPr bwMode="auto">
            <a:xfrm>
              <a:off x="3609976" y="1689101"/>
              <a:ext cx="654050" cy="833438"/>
            </a:xfrm>
            <a:custGeom>
              <a:avLst/>
              <a:gdLst>
                <a:gd name="T0" fmla="*/ 129 w 344"/>
                <a:gd name="T1" fmla="*/ 413 h 438"/>
                <a:gd name="T2" fmla="*/ 317 w 344"/>
                <a:gd name="T3" fmla="*/ 219 h 438"/>
                <a:gd name="T4" fmla="*/ 129 w 344"/>
                <a:gd name="T5" fmla="*/ 25 h 438"/>
                <a:gd name="T6" fmla="*/ 26 w 344"/>
                <a:gd name="T7" fmla="*/ 25 h 438"/>
                <a:gd name="T8" fmla="*/ 26 w 344"/>
                <a:gd name="T9" fmla="*/ 413 h 438"/>
                <a:gd name="T10" fmla="*/ 129 w 344"/>
                <a:gd name="T11" fmla="*/ 413 h 438"/>
                <a:gd name="T12" fmla="*/ 0 w 344"/>
                <a:gd name="T13" fmla="*/ 0 h 438"/>
                <a:gd name="T14" fmla="*/ 133 w 344"/>
                <a:gd name="T15" fmla="*/ 0 h 438"/>
                <a:gd name="T16" fmla="*/ 344 w 344"/>
                <a:gd name="T17" fmla="*/ 219 h 438"/>
                <a:gd name="T18" fmla="*/ 133 w 344"/>
                <a:gd name="T19" fmla="*/ 438 h 438"/>
                <a:gd name="T20" fmla="*/ 0 w 344"/>
                <a:gd name="T21" fmla="*/ 438 h 438"/>
                <a:gd name="T22" fmla="*/ 0 w 344"/>
                <a:gd name="T23"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 h="438">
                  <a:moveTo>
                    <a:pt x="129" y="413"/>
                  </a:moveTo>
                  <a:cubicBezTo>
                    <a:pt x="241" y="413"/>
                    <a:pt x="317" y="345"/>
                    <a:pt x="317" y="219"/>
                  </a:cubicBezTo>
                  <a:cubicBezTo>
                    <a:pt x="317" y="94"/>
                    <a:pt x="241" y="25"/>
                    <a:pt x="129" y="25"/>
                  </a:cubicBezTo>
                  <a:cubicBezTo>
                    <a:pt x="26" y="25"/>
                    <a:pt x="26" y="25"/>
                    <a:pt x="26" y="25"/>
                  </a:cubicBezTo>
                  <a:cubicBezTo>
                    <a:pt x="26" y="413"/>
                    <a:pt x="26" y="413"/>
                    <a:pt x="26" y="413"/>
                  </a:cubicBezTo>
                  <a:lnTo>
                    <a:pt x="129" y="413"/>
                  </a:lnTo>
                  <a:close/>
                  <a:moveTo>
                    <a:pt x="0" y="0"/>
                  </a:moveTo>
                  <a:cubicBezTo>
                    <a:pt x="133" y="0"/>
                    <a:pt x="133" y="0"/>
                    <a:pt x="133" y="0"/>
                  </a:cubicBezTo>
                  <a:cubicBezTo>
                    <a:pt x="259" y="0"/>
                    <a:pt x="344" y="80"/>
                    <a:pt x="344" y="219"/>
                  </a:cubicBezTo>
                  <a:cubicBezTo>
                    <a:pt x="344" y="359"/>
                    <a:pt x="259" y="438"/>
                    <a:pt x="133"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7" name="Freeform 36">
              <a:extLst>
                <a:ext uri="{FF2B5EF4-FFF2-40B4-BE49-F238E27FC236}">
                  <a16:creationId xmlns:a16="http://schemas.microsoft.com/office/drawing/2014/main" id="{50AE34E9-E121-1747-877E-DBA5C630EA51}"/>
                </a:ext>
              </a:extLst>
            </p:cNvPr>
            <p:cNvSpPr>
              <a:spLocks/>
            </p:cNvSpPr>
            <p:nvPr userDrawn="1"/>
          </p:nvSpPr>
          <p:spPr bwMode="auto">
            <a:xfrm>
              <a:off x="4398963" y="1924051"/>
              <a:ext cx="263525" cy="598488"/>
            </a:xfrm>
            <a:custGeom>
              <a:avLst/>
              <a:gdLst>
                <a:gd name="T0" fmla="*/ 0 w 139"/>
                <a:gd name="T1" fmla="*/ 2 h 315"/>
                <a:gd name="T2" fmla="*/ 25 w 139"/>
                <a:gd name="T3" fmla="*/ 2 h 315"/>
                <a:gd name="T4" fmla="*/ 25 w 139"/>
                <a:gd name="T5" fmla="*/ 62 h 315"/>
                <a:gd name="T6" fmla="*/ 23 w 139"/>
                <a:gd name="T7" fmla="*/ 87 h 315"/>
                <a:gd name="T8" fmla="*/ 24 w 139"/>
                <a:gd name="T9" fmla="*/ 87 h 315"/>
                <a:gd name="T10" fmla="*/ 121 w 139"/>
                <a:gd name="T11" fmla="*/ 0 h 315"/>
                <a:gd name="T12" fmla="*/ 139 w 139"/>
                <a:gd name="T13" fmla="*/ 2 h 315"/>
                <a:gd name="T14" fmla="*/ 139 w 139"/>
                <a:gd name="T15" fmla="*/ 28 h 315"/>
                <a:gd name="T16" fmla="*/ 125 w 139"/>
                <a:gd name="T17" fmla="*/ 27 h 315"/>
                <a:gd name="T18" fmla="*/ 34 w 139"/>
                <a:gd name="T19" fmla="*/ 114 h 315"/>
                <a:gd name="T20" fmla="*/ 25 w 139"/>
                <a:gd name="T21" fmla="*/ 180 h 315"/>
                <a:gd name="T22" fmla="*/ 25 w 139"/>
                <a:gd name="T23" fmla="*/ 315 h 315"/>
                <a:gd name="T24" fmla="*/ 0 w 139"/>
                <a:gd name="T25" fmla="*/ 315 h 315"/>
                <a:gd name="T26" fmla="*/ 0 w 139"/>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315">
                  <a:moveTo>
                    <a:pt x="0" y="2"/>
                  </a:moveTo>
                  <a:cubicBezTo>
                    <a:pt x="25" y="2"/>
                    <a:pt x="25" y="2"/>
                    <a:pt x="25" y="2"/>
                  </a:cubicBezTo>
                  <a:cubicBezTo>
                    <a:pt x="25" y="62"/>
                    <a:pt x="25" y="62"/>
                    <a:pt x="25" y="62"/>
                  </a:cubicBezTo>
                  <a:cubicBezTo>
                    <a:pt x="25" y="76"/>
                    <a:pt x="23" y="87"/>
                    <a:pt x="23" y="87"/>
                  </a:cubicBezTo>
                  <a:cubicBezTo>
                    <a:pt x="24" y="87"/>
                    <a:pt x="24" y="87"/>
                    <a:pt x="24" y="87"/>
                  </a:cubicBezTo>
                  <a:cubicBezTo>
                    <a:pt x="39" y="39"/>
                    <a:pt x="73" y="0"/>
                    <a:pt x="121" y="0"/>
                  </a:cubicBezTo>
                  <a:cubicBezTo>
                    <a:pt x="130" y="0"/>
                    <a:pt x="139" y="2"/>
                    <a:pt x="139" y="2"/>
                  </a:cubicBezTo>
                  <a:cubicBezTo>
                    <a:pt x="139" y="28"/>
                    <a:pt x="139" y="28"/>
                    <a:pt x="139" y="28"/>
                  </a:cubicBezTo>
                  <a:cubicBezTo>
                    <a:pt x="139" y="28"/>
                    <a:pt x="131" y="27"/>
                    <a:pt x="125" y="27"/>
                  </a:cubicBezTo>
                  <a:cubicBezTo>
                    <a:pt x="77" y="27"/>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8" name="Freeform 37">
              <a:extLst>
                <a:ext uri="{FF2B5EF4-FFF2-40B4-BE49-F238E27FC236}">
                  <a16:creationId xmlns:a16="http://schemas.microsoft.com/office/drawing/2014/main" id="{E3FC8F0D-E681-C34B-8CF5-AC5E0EECE0A3}"/>
                </a:ext>
              </a:extLst>
            </p:cNvPr>
            <p:cNvSpPr>
              <a:spLocks noEditPoints="1"/>
            </p:cNvSpPr>
            <p:nvPr userDrawn="1"/>
          </p:nvSpPr>
          <p:spPr bwMode="auto">
            <a:xfrm>
              <a:off x="4735513" y="1689101"/>
              <a:ext cx="57150" cy="833438"/>
            </a:xfrm>
            <a:custGeom>
              <a:avLst/>
              <a:gdLst>
                <a:gd name="T0" fmla="*/ 2 w 36"/>
                <a:gd name="T1" fmla="*/ 525 h 525"/>
                <a:gd name="T2" fmla="*/ 32 w 36"/>
                <a:gd name="T3" fmla="*/ 525 h 525"/>
                <a:gd name="T4" fmla="*/ 32 w 36"/>
                <a:gd name="T5" fmla="*/ 150 h 525"/>
                <a:gd name="T6" fmla="*/ 2 w 36"/>
                <a:gd name="T7" fmla="*/ 150 h 525"/>
                <a:gd name="T8" fmla="*/ 2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2" y="525"/>
                  </a:moveTo>
                  <a:lnTo>
                    <a:pt x="32" y="525"/>
                  </a:lnTo>
                  <a:lnTo>
                    <a:pt x="32" y="150"/>
                  </a:lnTo>
                  <a:lnTo>
                    <a:pt x="2" y="150"/>
                  </a:lnTo>
                  <a:lnTo>
                    <a:pt x="2"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9" name="Freeform 38">
              <a:extLst>
                <a:ext uri="{FF2B5EF4-FFF2-40B4-BE49-F238E27FC236}">
                  <a16:creationId xmlns:a16="http://schemas.microsoft.com/office/drawing/2014/main" id="{E7C91378-D2DD-B040-A9A4-BF6BCA77646C}"/>
                </a:ext>
              </a:extLst>
            </p:cNvPr>
            <p:cNvSpPr>
              <a:spLocks/>
            </p:cNvSpPr>
            <p:nvPr userDrawn="1"/>
          </p:nvSpPr>
          <p:spPr bwMode="auto">
            <a:xfrm>
              <a:off x="4860926" y="1927226"/>
              <a:ext cx="496888" cy="595313"/>
            </a:xfrm>
            <a:custGeom>
              <a:avLst/>
              <a:gdLst>
                <a:gd name="T0" fmla="*/ 0 w 262"/>
                <a:gd name="T1" fmla="*/ 0 h 313"/>
                <a:gd name="T2" fmla="*/ 28 w 262"/>
                <a:gd name="T3" fmla="*/ 0 h 313"/>
                <a:gd name="T4" fmla="*/ 121 w 262"/>
                <a:gd name="T5" fmla="*/ 246 h 313"/>
                <a:gd name="T6" fmla="*/ 131 w 262"/>
                <a:gd name="T7" fmla="*/ 279 h 313"/>
                <a:gd name="T8" fmla="*/ 132 w 262"/>
                <a:gd name="T9" fmla="*/ 279 h 313"/>
                <a:gd name="T10" fmla="*/ 143 w 262"/>
                <a:gd name="T11" fmla="*/ 246 h 313"/>
                <a:gd name="T12" fmla="*/ 236 w 262"/>
                <a:gd name="T13" fmla="*/ 0 h 313"/>
                <a:gd name="T14" fmla="*/ 262 w 262"/>
                <a:gd name="T15" fmla="*/ 0 h 313"/>
                <a:gd name="T16" fmla="*/ 144 w 262"/>
                <a:gd name="T17" fmla="*/ 313 h 313"/>
                <a:gd name="T18" fmla="*/ 120 w 262"/>
                <a:gd name="T19" fmla="*/ 313 h 313"/>
                <a:gd name="T20" fmla="*/ 0 w 262"/>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313">
                  <a:moveTo>
                    <a:pt x="0" y="0"/>
                  </a:moveTo>
                  <a:cubicBezTo>
                    <a:pt x="28" y="0"/>
                    <a:pt x="28" y="0"/>
                    <a:pt x="28" y="0"/>
                  </a:cubicBezTo>
                  <a:cubicBezTo>
                    <a:pt x="121" y="246"/>
                    <a:pt x="121" y="246"/>
                    <a:pt x="121" y="246"/>
                  </a:cubicBezTo>
                  <a:cubicBezTo>
                    <a:pt x="126" y="260"/>
                    <a:pt x="131" y="279"/>
                    <a:pt x="131" y="279"/>
                  </a:cubicBezTo>
                  <a:cubicBezTo>
                    <a:pt x="132" y="279"/>
                    <a:pt x="132" y="279"/>
                    <a:pt x="132" y="279"/>
                  </a:cubicBezTo>
                  <a:cubicBezTo>
                    <a:pt x="132" y="279"/>
                    <a:pt x="137" y="260"/>
                    <a:pt x="143" y="246"/>
                  </a:cubicBezTo>
                  <a:cubicBezTo>
                    <a:pt x="236" y="0"/>
                    <a:pt x="236" y="0"/>
                    <a:pt x="236" y="0"/>
                  </a:cubicBezTo>
                  <a:cubicBezTo>
                    <a:pt x="262" y="0"/>
                    <a:pt x="262" y="0"/>
                    <a:pt x="262" y="0"/>
                  </a:cubicBezTo>
                  <a:cubicBezTo>
                    <a:pt x="144" y="313"/>
                    <a:pt x="144" y="313"/>
                    <a:pt x="144" y="313"/>
                  </a:cubicBezTo>
                  <a:cubicBezTo>
                    <a:pt x="120" y="313"/>
                    <a:pt x="120" y="313"/>
                    <a:pt x="120" y="313"/>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0" name="Freeform 39">
              <a:extLst>
                <a:ext uri="{FF2B5EF4-FFF2-40B4-BE49-F238E27FC236}">
                  <a16:creationId xmlns:a16="http://schemas.microsoft.com/office/drawing/2014/main" id="{622A7CE9-538C-AF41-ACBB-DB81D8B1D789}"/>
                </a:ext>
              </a:extLst>
            </p:cNvPr>
            <p:cNvSpPr>
              <a:spLocks noEditPoints="1"/>
            </p:cNvSpPr>
            <p:nvPr userDrawn="1"/>
          </p:nvSpPr>
          <p:spPr bwMode="auto">
            <a:xfrm>
              <a:off x="5375276" y="1914526"/>
              <a:ext cx="512763" cy="623888"/>
            </a:xfrm>
            <a:custGeom>
              <a:avLst/>
              <a:gdLst>
                <a:gd name="T0" fmla="*/ 243 w 270"/>
                <a:gd name="T1" fmla="*/ 135 h 328"/>
                <a:gd name="T2" fmla="*/ 146 w 270"/>
                <a:gd name="T3" fmla="*/ 24 h 328"/>
                <a:gd name="T4" fmla="*/ 28 w 270"/>
                <a:gd name="T5" fmla="*/ 135 h 328"/>
                <a:gd name="T6" fmla="*/ 243 w 270"/>
                <a:gd name="T7" fmla="*/ 135 h 328"/>
                <a:gd name="T8" fmla="*/ 147 w 270"/>
                <a:gd name="T9" fmla="*/ 0 h 328"/>
                <a:gd name="T10" fmla="*/ 270 w 270"/>
                <a:gd name="T11" fmla="*/ 142 h 328"/>
                <a:gd name="T12" fmla="*/ 269 w 270"/>
                <a:gd name="T13" fmla="*/ 159 h 328"/>
                <a:gd name="T14" fmla="*/ 26 w 270"/>
                <a:gd name="T15" fmla="*/ 159 h 328"/>
                <a:gd name="T16" fmla="*/ 156 w 270"/>
                <a:gd name="T17" fmla="*/ 302 h 328"/>
                <a:gd name="T18" fmla="*/ 249 w 270"/>
                <a:gd name="T19" fmla="*/ 263 h 328"/>
                <a:gd name="T20" fmla="*/ 263 w 270"/>
                <a:gd name="T21" fmla="*/ 284 h 328"/>
                <a:gd name="T22" fmla="*/ 156 w 270"/>
                <a:gd name="T23" fmla="*/ 328 h 328"/>
                <a:gd name="T24" fmla="*/ 0 w 270"/>
                <a:gd name="T25" fmla="*/ 164 h 328"/>
                <a:gd name="T26" fmla="*/ 147 w 270"/>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0" h="328">
                  <a:moveTo>
                    <a:pt x="243" y="135"/>
                  </a:moveTo>
                  <a:cubicBezTo>
                    <a:pt x="240" y="59"/>
                    <a:pt x="196" y="24"/>
                    <a:pt x="146" y="24"/>
                  </a:cubicBezTo>
                  <a:cubicBezTo>
                    <a:pt x="90" y="24"/>
                    <a:pt x="39" y="62"/>
                    <a:pt x="28" y="135"/>
                  </a:cubicBezTo>
                  <a:lnTo>
                    <a:pt x="243" y="135"/>
                  </a:lnTo>
                  <a:close/>
                  <a:moveTo>
                    <a:pt x="147" y="0"/>
                  </a:moveTo>
                  <a:cubicBezTo>
                    <a:pt x="229" y="0"/>
                    <a:pt x="270" y="67"/>
                    <a:pt x="270" y="142"/>
                  </a:cubicBezTo>
                  <a:cubicBezTo>
                    <a:pt x="270" y="149"/>
                    <a:pt x="269" y="159"/>
                    <a:pt x="269" y="159"/>
                  </a:cubicBezTo>
                  <a:cubicBezTo>
                    <a:pt x="26" y="159"/>
                    <a:pt x="26" y="159"/>
                    <a:pt x="26" y="159"/>
                  </a:cubicBezTo>
                  <a:cubicBezTo>
                    <a:pt x="26" y="250"/>
                    <a:pt x="85" y="302"/>
                    <a:pt x="156" y="302"/>
                  </a:cubicBezTo>
                  <a:cubicBezTo>
                    <a:pt x="214" y="302"/>
                    <a:pt x="249" y="263"/>
                    <a:pt x="249" y="263"/>
                  </a:cubicBezTo>
                  <a:cubicBezTo>
                    <a:pt x="263" y="284"/>
                    <a:pt x="263" y="284"/>
                    <a:pt x="263" y="284"/>
                  </a:cubicBezTo>
                  <a:cubicBezTo>
                    <a:pt x="263" y="284"/>
                    <a:pt x="221" y="328"/>
                    <a:pt x="156" y="328"/>
                  </a:cubicBezTo>
                  <a:cubicBezTo>
                    <a:pt x="70" y="328"/>
                    <a:pt x="0" y="264"/>
                    <a:pt x="0" y="164"/>
                  </a:cubicBezTo>
                  <a:cubicBezTo>
                    <a:pt x="0" y="59"/>
                    <a:pt x="69"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1" name="Freeform 40">
              <a:extLst>
                <a:ext uri="{FF2B5EF4-FFF2-40B4-BE49-F238E27FC236}">
                  <a16:creationId xmlns:a16="http://schemas.microsoft.com/office/drawing/2014/main" id="{1DBFBA98-E185-6A4B-9F03-EE91FB679CC0}"/>
                </a:ext>
              </a:extLst>
            </p:cNvPr>
            <p:cNvSpPr>
              <a:spLocks/>
            </p:cNvSpPr>
            <p:nvPr userDrawn="1"/>
          </p:nvSpPr>
          <p:spPr bwMode="auto">
            <a:xfrm>
              <a:off x="6003926" y="1914526"/>
              <a:ext cx="479425" cy="608013"/>
            </a:xfrm>
            <a:custGeom>
              <a:avLst/>
              <a:gdLst>
                <a:gd name="T0" fmla="*/ 0 w 252"/>
                <a:gd name="T1" fmla="*/ 7 h 320"/>
                <a:gd name="T2" fmla="*/ 25 w 252"/>
                <a:gd name="T3" fmla="*/ 7 h 320"/>
                <a:gd name="T4" fmla="*/ 25 w 252"/>
                <a:gd name="T5" fmla="*/ 62 h 320"/>
                <a:gd name="T6" fmla="*/ 23 w 252"/>
                <a:gd name="T7" fmla="*/ 88 h 320"/>
                <a:gd name="T8" fmla="*/ 24 w 252"/>
                <a:gd name="T9" fmla="*/ 88 h 320"/>
                <a:gd name="T10" fmla="*/ 152 w 252"/>
                <a:gd name="T11" fmla="*/ 0 h 320"/>
                <a:gd name="T12" fmla="*/ 252 w 252"/>
                <a:gd name="T13" fmla="*/ 122 h 320"/>
                <a:gd name="T14" fmla="*/ 252 w 252"/>
                <a:gd name="T15" fmla="*/ 320 h 320"/>
                <a:gd name="T16" fmla="*/ 227 w 252"/>
                <a:gd name="T17" fmla="*/ 320 h 320"/>
                <a:gd name="T18" fmla="*/ 227 w 252"/>
                <a:gd name="T19" fmla="*/ 131 h 320"/>
                <a:gd name="T20" fmla="*/ 152 w 252"/>
                <a:gd name="T21" fmla="*/ 26 h 320"/>
                <a:gd name="T22" fmla="*/ 30 w 252"/>
                <a:gd name="T23" fmla="*/ 125 h 320"/>
                <a:gd name="T24" fmla="*/ 25 w 252"/>
                <a:gd name="T25" fmla="*/ 168 h 320"/>
                <a:gd name="T26" fmla="*/ 25 w 252"/>
                <a:gd name="T27" fmla="*/ 320 h 320"/>
                <a:gd name="T28" fmla="*/ 0 w 252"/>
                <a:gd name="T29" fmla="*/ 320 h 320"/>
                <a:gd name="T30" fmla="*/ 0 w 252"/>
                <a:gd name="T31" fmla="*/ 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320">
                  <a:moveTo>
                    <a:pt x="0" y="7"/>
                  </a:moveTo>
                  <a:cubicBezTo>
                    <a:pt x="25" y="7"/>
                    <a:pt x="25" y="7"/>
                    <a:pt x="25" y="7"/>
                  </a:cubicBezTo>
                  <a:cubicBezTo>
                    <a:pt x="25" y="62"/>
                    <a:pt x="25" y="62"/>
                    <a:pt x="25" y="62"/>
                  </a:cubicBezTo>
                  <a:cubicBezTo>
                    <a:pt x="25" y="77"/>
                    <a:pt x="23" y="88"/>
                    <a:pt x="23" y="88"/>
                  </a:cubicBezTo>
                  <a:cubicBezTo>
                    <a:pt x="24" y="88"/>
                    <a:pt x="24" y="88"/>
                    <a:pt x="24" y="88"/>
                  </a:cubicBezTo>
                  <a:cubicBezTo>
                    <a:pt x="34" y="59"/>
                    <a:pt x="77" y="0"/>
                    <a:pt x="152" y="0"/>
                  </a:cubicBezTo>
                  <a:cubicBezTo>
                    <a:pt x="231" y="0"/>
                    <a:pt x="252" y="48"/>
                    <a:pt x="252" y="122"/>
                  </a:cubicBezTo>
                  <a:cubicBezTo>
                    <a:pt x="252" y="320"/>
                    <a:pt x="252" y="320"/>
                    <a:pt x="252" y="320"/>
                  </a:cubicBezTo>
                  <a:cubicBezTo>
                    <a:pt x="227" y="320"/>
                    <a:pt x="227" y="320"/>
                    <a:pt x="227" y="320"/>
                  </a:cubicBezTo>
                  <a:cubicBezTo>
                    <a:pt x="227" y="131"/>
                    <a:pt x="227" y="131"/>
                    <a:pt x="227" y="131"/>
                  </a:cubicBezTo>
                  <a:cubicBezTo>
                    <a:pt x="227" y="77"/>
                    <a:pt x="220" y="26"/>
                    <a:pt x="152" y="26"/>
                  </a:cubicBezTo>
                  <a:cubicBezTo>
                    <a:pt x="95" y="26"/>
                    <a:pt x="45" y="67"/>
                    <a:pt x="30" y="125"/>
                  </a:cubicBezTo>
                  <a:cubicBezTo>
                    <a:pt x="26" y="138"/>
                    <a:pt x="25" y="153"/>
                    <a:pt x="25" y="168"/>
                  </a:cubicBezTo>
                  <a:cubicBezTo>
                    <a:pt x="25" y="320"/>
                    <a:pt x="25" y="320"/>
                    <a:pt x="25" y="320"/>
                  </a:cubicBezTo>
                  <a:cubicBezTo>
                    <a:pt x="0" y="320"/>
                    <a:pt x="0" y="320"/>
                    <a:pt x="0" y="320"/>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2" name="Freeform 41">
              <a:extLst>
                <a:ext uri="{FF2B5EF4-FFF2-40B4-BE49-F238E27FC236}">
                  <a16:creationId xmlns:a16="http://schemas.microsoft.com/office/drawing/2014/main" id="{48BF6D59-3A02-2A4B-8379-70FBD364C531}"/>
                </a:ext>
              </a:extLst>
            </p:cNvPr>
            <p:cNvSpPr>
              <a:spLocks noEditPoints="1"/>
            </p:cNvSpPr>
            <p:nvPr userDrawn="1"/>
          </p:nvSpPr>
          <p:spPr bwMode="auto">
            <a:xfrm>
              <a:off x="6950076" y="1689101"/>
              <a:ext cx="501650" cy="849313"/>
            </a:xfrm>
            <a:custGeom>
              <a:avLst/>
              <a:gdLst>
                <a:gd name="T0" fmla="*/ 130 w 264"/>
                <a:gd name="T1" fmla="*/ 420 h 446"/>
                <a:gd name="T2" fmla="*/ 237 w 264"/>
                <a:gd name="T3" fmla="*/ 282 h 446"/>
                <a:gd name="T4" fmla="*/ 132 w 264"/>
                <a:gd name="T5" fmla="*/ 144 h 446"/>
                <a:gd name="T6" fmla="*/ 24 w 264"/>
                <a:gd name="T7" fmla="*/ 282 h 446"/>
                <a:gd name="T8" fmla="*/ 130 w 264"/>
                <a:gd name="T9" fmla="*/ 420 h 446"/>
                <a:gd name="T10" fmla="*/ 0 w 264"/>
                <a:gd name="T11" fmla="*/ 0 h 446"/>
                <a:gd name="T12" fmla="*/ 25 w 264"/>
                <a:gd name="T13" fmla="*/ 0 h 446"/>
                <a:gd name="T14" fmla="*/ 25 w 264"/>
                <a:gd name="T15" fmla="*/ 163 h 446"/>
                <a:gd name="T16" fmla="*/ 23 w 264"/>
                <a:gd name="T17" fmla="*/ 189 h 446"/>
                <a:gd name="T18" fmla="*/ 24 w 264"/>
                <a:gd name="T19" fmla="*/ 189 h 446"/>
                <a:gd name="T20" fmla="*/ 133 w 264"/>
                <a:gd name="T21" fmla="*/ 118 h 446"/>
                <a:gd name="T22" fmla="*/ 264 w 264"/>
                <a:gd name="T23" fmla="*/ 282 h 446"/>
                <a:gd name="T24" fmla="*/ 129 w 264"/>
                <a:gd name="T25" fmla="*/ 446 h 446"/>
                <a:gd name="T26" fmla="*/ 24 w 264"/>
                <a:gd name="T27" fmla="*/ 375 h 446"/>
                <a:gd name="T28" fmla="*/ 23 w 264"/>
                <a:gd name="T29" fmla="*/ 375 h 446"/>
                <a:gd name="T30" fmla="*/ 25 w 264"/>
                <a:gd name="T31" fmla="*/ 402 h 446"/>
                <a:gd name="T32" fmla="*/ 25 w 264"/>
                <a:gd name="T33" fmla="*/ 438 h 446"/>
                <a:gd name="T34" fmla="*/ 0 w 264"/>
                <a:gd name="T35" fmla="*/ 438 h 446"/>
                <a:gd name="T36" fmla="*/ 0 w 264"/>
                <a:gd name="T3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420"/>
                  </a:moveTo>
                  <a:cubicBezTo>
                    <a:pt x="189" y="420"/>
                    <a:pt x="237" y="369"/>
                    <a:pt x="237" y="282"/>
                  </a:cubicBezTo>
                  <a:cubicBezTo>
                    <a:pt x="237" y="197"/>
                    <a:pt x="194" y="144"/>
                    <a:pt x="132" y="144"/>
                  </a:cubicBezTo>
                  <a:cubicBezTo>
                    <a:pt x="77" y="144"/>
                    <a:pt x="24" y="184"/>
                    <a:pt x="24" y="282"/>
                  </a:cubicBezTo>
                  <a:cubicBezTo>
                    <a:pt x="24" y="352"/>
                    <a:pt x="59" y="420"/>
                    <a:pt x="130" y="420"/>
                  </a:cubicBezTo>
                  <a:moveTo>
                    <a:pt x="0" y="0"/>
                  </a:moveTo>
                  <a:cubicBezTo>
                    <a:pt x="25" y="0"/>
                    <a:pt x="25" y="0"/>
                    <a:pt x="25" y="0"/>
                  </a:cubicBezTo>
                  <a:cubicBezTo>
                    <a:pt x="25" y="163"/>
                    <a:pt x="25" y="163"/>
                    <a:pt x="25" y="163"/>
                  </a:cubicBezTo>
                  <a:cubicBezTo>
                    <a:pt x="25" y="177"/>
                    <a:pt x="23" y="189"/>
                    <a:pt x="23" y="189"/>
                  </a:cubicBezTo>
                  <a:cubicBezTo>
                    <a:pt x="24" y="189"/>
                    <a:pt x="24" y="189"/>
                    <a:pt x="24" y="189"/>
                  </a:cubicBezTo>
                  <a:cubicBezTo>
                    <a:pt x="24" y="189"/>
                    <a:pt x="50" y="118"/>
                    <a:pt x="133" y="118"/>
                  </a:cubicBezTo>
                  <a:cubicBezTo>
                    <a:pt x="215" y="118"/>
                    <a:pt x="264" y="185"/>
                    <a:pt x="264" y="282"/>
                  </a:cubicBezTo>
                  <a:cubicBezTo>
                    <a:pt x="264" y="381"/>
                    <a:pt x="208" y="446"/>
                    <a:pt x="129" y="446"/>
                  </a:cubicBezTo>
                  <a:cubicBezTo>
                    <a:pt x="52" y="446"/>
                    <a:pt x="24" y="375"/>
                    <a:pt x="24" y="375"/>
                  </a:cubicBezTo>
                  <a:cubicBezTo>
                    <a:pt x="23" y="375"/>
                    <a:pt x="23" y="375"/>
                    <a:pt x="23" y="375"/>
                  </a:cubicBezTo>
                  <a:cubicBezTo>
                    <a:pt x="23" y="375"/>
                    <a:pt x="25" y="386"/>
                    <a:pt x="25" y="402"/>
                  </a:cubicBezTo>
                  <a:cubicBezTo>
                    <a:pt x="25" y="438"/>
                    <a:pt x="25" y="438"/>
                    <a:pt x="25"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3" name="Freeform 42">
              <a:extLst>
                <a:ext uri="{FF2B5EF4-FFF2-40B4-BE49-F238E27FC236}">
                  <a16:creationId xmlns:a16="http://schemas.microsoft.com/office/drawing/2014/main" id="{342A6F52-FD7C-FD47-B92B-3E12EE43A095}"/>
                </a:ext>
              </a:extLst>
            </p:cNvPr>
            <p:cNvSpPr>
              <a:spLocks/>
            </p:cNvSpPr>
            <p:nvPr userDrawn="1"/>
          </p:nvSpPr>
          <p:spPr bwMode="auto">
            <a:xfrm>
              <a:off x="7459663" y="1927226"/>
              <a:ext cx="533400" cy="844550"/>
            </a:xfrm>
            <a:custGeom>
              <a:avLst/>
              <a:gdLst>
                <a:gd name="T0" fmla="*/ 11 w 281"/>
                <a:gd name="T1" fmla="*/ 404 h 444"/>
                <a:gd name="T2" fmla="*/ 49 w 281"/>
                <a:gd name="T3" fmla="*/ 419 h 444"/>
                <a:gd name="T4" fmla="*/ 108 w 281"/>
                <a:gd name="T5" fmla="*/ 363 h 444"/>
                <a:gd name="T6" fmla="*/ 130 w 281"/>
                <a:gd name="T7" fmla="*/ 311 h 444"/>
                <a:gd name="T8" fmla="*/ 5 w 281"/>
                <a:gd name="T9" fmla="*/ 0 h 444"/>
                <a:gd name="T10" fmla="*/ 32 w 281"/>
                <a:gd name="T11" fmla="*/ 0 h 444"/>
                <a:gd name="T12" fmla="*/ 132 w 281"/>
                <a:gd name="T13" fmla="*/ 250 h 444"/>
                <a:gd name="T14" fmla="*/ 143 w 281"/>
                <a:gd name="T15" fmla="*/ 279 h 444"/>
                <a:gd name="T16" fmla="*/ 144 w 281"/>
                <a:gd name="T17" fmla="*/ 279 h 444"/>
                <a:gd name="T18" fmla="*/ 154 w 281"/>
                <a:gd name="T19" fmla="*/ 250 h 444"/>
                <a:gd name="T20" fmla="*/ 254 w 281"/>
                <a:gd name="T21" fmla="*/ 0 h 444"/>
                <a:gd name="T22" fmla="*/ 281 w 281"/>
                <a:gd name="T23" fmla="*/ 0 h 444"/>
                <a:gd name="T24" fmla="*/ 126 w 281"/>
                <a:gd name="T25" fmla="*/ 386 h 444"/>
                <a:gd name="T26" fmla="*/ 49 w 281"/>
                <a:gd name="T27" fmla="*/ 444 h 444"/>
                <a:gd name="T28" fmla="*/ 0 w 281"/>
                <a:gd name="T29" fmla="*/ 427 h 444"/>
                <a:gd name="T30" fmla="*/ 11 w 281"/>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444">
                  <a:moveTo>
                    <a:pt x="11" y="404"/>
                  </a:moveTo>
                  <a:cubicBezTo>
                    <a:pt x="11" y="404"/>
                    <a:pt x="28" y="419"/>
                    <a:pt x="49" y="419"/>
                  </a:cubicBezTo>
                  <a:cubicBezTo>
                    <a:pt x="78" y="419"/>
                    <a:pt x="96" y="392"/>
                    <a:pt x="108" y="363"/>
                  </a:cubicBezTo>
                  <a:cubicBezTo>
                    <a:pt x="130" y="311"/>
                    <a:pt x="130" y="311"/>
                    <a:pt x="130" y="311"/>
                  </a:cubicBezTo>
                  <a:cubicBezTo>
                    <a:pt x="5" y="0"/>
                    <a:pt x="5" y="0"/>
                    <a:pt x="5" y="0"/>
                  </a:cubicBezTo>
                  <a:cubicBezTo>
                    <a:pt x="32" y="0"/>
                    <a:pt x="32" y="0"/>
                    <a:pt x="32" y="0"/>
                  </a:cubicBezTo>
                  <a:cubicBezTo>
                    <a:pt x="132" y="250"/>
                    <a:pt x="132" y="250"/>
                    <a:pt x="132" y="250"/>
                  </a:cubicBezTo>
                  <a:cubicBezTo>
                    <a:pt x="138" y="265"/>
                    <a:pt x="143" y="279"/>
                    <a:pt x="143" y="279"/>
                  </a:cubicBezTo>
                  <a:cubicBezTo>
                    <a:pt x="144" y="279"/>
                    <a:pt x="144" y="279"/>
                    <a:pt x="144" y="279"/>
                  </a:cubicBezTo>
                  <a:cubicBezTo>
                    <a:pt x="144" y="279"/>
                    <a:pt x="148" y="265"/>
                    <a:pt x="154" y="250"/>
                  </a:cubicBezTo>
                  <a:cubicBezTo>
                    <a:pt x="254" y="0"/>
                    <a:pt x="254" y="0"/>
                    <a:pt x="254" y="0"/>
                  </a:cubicBezTo>
                  <a:cubicBezTo>
                    <a:pt x="281" y="0"/>
                    <a:pt x="281" y="0"/>
                    <a:pt x="281" y="0"/>
                  </a:cubicBezTo>
                  <a:cubicBezTo>
                    <a:pt x="126" y="386"/>
                    <a:pt x="126" y="386"/>
                    <a:pt x="126" y="386"/>
                  </a:cubicBezTo>
                  <a:cubicBezTo>
                    <a:pt x="112" y="419"/>
                    <a:pt x="87" y="444"/>
                    <a:pt x="49" y="444"/>
                  </a:cubicBezTo>
                  <a:cubicBezTo>
                    <a:pt x="20" y="444"/>
                    <a:pt x="0" y="427"/>
                    <a:pt x="0" y="427"/>
                  </a:cubicBezTo>
                  <a:lnTo>
                    <a:pt x="11"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4" name="Freeform 43">
              <a:extLst>
                <a:ext uri="{FF2B5EF4-FFF2-40B4-BE49-F238E27FC236}">
                  <a16:creationId xmlns:a16="http://schemas.microsoft.com/office/drawing/2014/main" id="{35A5B52E-0B3E-4941-8E27-5FD7DBFB47FC}"/>
                </a:ext>
              </a:extLst>
            </p:cNvPr>
            <p:cNvSpPr>
              <a:spLocks/>
            </p:cNvSpPr>
            <p:nvPr userDrawn="1"/>
          </p:nvSpPr>
          <p:spPr bwMode="auto">
            <a:xfrm>
              <a:off x="8301038" y="1906588"/>
              <a:ext cx="431800" cy="631825"/>
            </a:xfrm>
            <a:custGeom>
              <a:avLst/>
              <a:gdLst>
                <a:gd name="T0" fmla="*/ 29 w 227"/>
                <a:gd name="T1" fmla="*/ 242 h 332"/>
                <a:gd name="T2" fmla="*/ 117 w 227"/>
                <a:gd name="T3" fmla="*/ 279 h 332"/>
                <a:gd name="T4" fmla="*/ 167 w 227"/>
                <a:gd name="T5" fmla="*/ 240 h 332"/>
                <a:gd name="T6" fmla="*/ 10 w 227"/>
                <a:gd name="T7" fmla="*/ 90 h 332"/>
                <a:gd name="T8" fmla="*/ 121 w 227"/>
                <a:gd name="T9" fmla="*/ 0 h 332"/>
                <a:gd name="T10" fmla="*/ 220 w 227"/>
                <a:gd name="T11" fmla="*/ 35 h 332"/>
                <a:gd name="T12" fmla="*/ 196 w 227"/>
                <a:gd name="T13" fmla="*/ 81 h 332"/>
                <a:gd name="T14" fmla="*/ 120 w 227"/>
                <a:gd name="T15" fmla="*/ 53 h 332"/>
                <a:gd name="T16" fmla="*/ 70 w 227"/>
                <a:gd name="T17" fmla="*/ 91 h 332"/>
                <a:gd name="T18" fmla="*/ 227 w 227"/>
                <a:gd name="T19" fmla="*/ 240 h 332"/>
                <a:gd name="T20" fmla="*/ 117 w 227"/>
                <a:gd name="T21" fmla="*/ 332 h 332"/>
                <a:gd name="T22" fmla="*/ 0 w 227"/>
                <a:gd name="T23" fmla="*/ 285 h 332"/>
                <a:gd name="T24" fmla="*/ 29 w 227"/>
                <a:gd name="T25" fmla="*/ 24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2">
                  <a:moveTo>
                    <a:pt x="29" y="242"/>
                  </a:moveTo>
                  <a:cubicBezTo>
                    <a:pt x="29" y="242"/>
                    <a:pt x="63" y="279"/>
                    <a:pt x="117" y="279"/>
                  </a:cubicBezTo>
                  <a:cubicBezTo>
                    <a:pt x="142" y="279"/>
                    <a:pt x="167" y="265"/>
                    <a:pt x="167" y="240"/>
                  </a:cubicBezTo>
                  <a:cubicBezTo>
                    <a:pt x="167" y="181"/>
                    <a:pt x="10" y="193"/>
                    <a:pt x="10" y="90"/>
                  </a:cubicBezTo>
                  <a:cubicBezTo>
                    <a:pt x="10" y="33"/>
                    <a:pt x="60" y="0"/>
                    <a:pt x="121" y="0"/>
                  </a:cubicBezTo>
                  <a:cubicBezTo>
                    <a:pt x="188" y="0"/>
                    <a:pt x="220" y="35"/>
                    <a:pt x="220" y="35"/>
                  </a:cubicBezTo>
                  <a:cubicBezTo>
                    <a:pt x="196" y="81"/>
                    <a:pt x="196" y="81"/>
                    <a:pt x="196" y="81"/>
                  </a:cubicBezTo>
                  <a:cubicBezTo>
                    <a:pt x="196" y="81"/>
                    <a:pt x="169" y="53"/>
                    <a:pt x="120" y="53"/>
                  </a:cubicBezTo>
                  <a:cubicBezTo>
                    <a:pt x="95" y="53"/>
                    <a:pt x="70" y="64"/>
                    <a:pt x="70" y="91"/>
                  </a:cubicBezTo>
                  <a:cubicBezTo>
                    <a:pt x="70" y="148"/>
                    <a:pt x="227" y="136"/>
                    <a:pt x="227" y="240"/>
                  </a:cubicBezTo>
                  <a:cubicBezTo>
                    <a:pt x="227" y="292"/>
                    <a:pt x="184" y="332"/>
                    <a:pt x="117" y="332"/>
                  </a:cubicBezTo>
                  <a:cubicBezTo>
                    <a:pt x="42" y="332"/>
                    <a:pt x="0" y="285"/>
                    <a:pt x="0" y="285"/>
                  </a:cubicBezTo>
                  <a:lnTo>
                    <a:pt x="29"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5" name="Freeform 44">
              <a:extLst>
                <a:ext uri="{FF2B5EF4-FFF2-40B4-BE49-F238E27FC236}">
                  <a16:creationId xmlns:a16="http://schemas.microsoft.com/office/drawing/2014/main" id="{4EC5B658-606D-B041-901A-BCFC323ACA93}"/>
                </a:ext>
              </a:extLst>
            </p:cNvPr>
            <p:cNvSpPr>
              <a:spLocks/>
            </p:cNvSpPr>
            <p:nvPr userDrawn="1"/>
          </p:nvSpPr>
          <p:spPr bwMode="auto">
            <a:xfrm>
              <a:off x="8774113"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6" name="Freeform 45">
              <a:extLst>
                <a:ext uri="{FF2B5EF4-FFF2-40B4-BE49-F238E27FC236}">
                  <a16:creationId xmlns:a16="http://schemas.microsoft.com/office/drawing/2014/main" id="{105D7FED-266F-0341-9457-ADDF4F5CCAA1}"/>
                </a:ext>
              </a:extLst>
            </p:cNvPr>
            <p:cNvSpPr>
              <a:spLocks noEditPoints="1"/>
            </p:cNvSpPr>
            <p:nvPr userDrawn="1"/>
          </p:nvSpPr>
          <p:spPr bwMode="auto">
            <a:xfrm>
              <a:off x="9388476" y="1682751"/>
              <a:ext cx="114300" cy="839788"/>
            </a:xfrm>
            <a:custGeom>
              <a:avLst/>
              <a:gdLst>
                <a:gd name="T0" fmla="*/ 1 w 72"/>
                <a:gd name="T1" fmla="*/ 150 h 529"/>
                <a:gd name="T2" fmla="*/ 72 w 72"/>
                <a:gd name="T3" fmla="*/ 150 h 529"/>
                <a:gd name="T4" fmla="*/ 72 w 72"/>
                <a:gd name="T5" fmla="*/ 529 h 529"/>
                <a:gd name="T6" fmla="*/ 1 w 72"/>
                <a:gd name="T7" fmla="*/ 529 h 529"/>
                <a:gd name="T8" fmla="*/ 1 w 72"/>
                <a:gd name="T9" fmla="*/ 150 h 529"/>
                <a:gd name="T10" fmla="*/ 0 w 72"/>
                <a:gd name="T11" fmla="*/ 0 h 529"/>
                <a:gd name="T12" fmla="*/ 72 w 72"/>
                <a:gd name="T13" fmla="*/ 0 h 529"/>
                <a:gd name="T14" fmla="*/ 72 w 72"/>
                <a:gd name="T15" fmla="*/ 74 h 529"/>
                <a:gd name="T16" fmla="*/ 0 w 72"/>
                <a:gd name="T17" fmla="*/ 74 h 529"/>
                <a:gd name="T18" fmla="*/ 0 w 72"/>
                <a:gd name="T19"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529">
                  <a:moveTo>
                    <a:pt x="1" y="150"/>
                  </a:moveTo>
                  <a:lnTo>
                    <a:pt x="72" y="150"/>
                  </a:lnTo>
                  <a:lnTo>
                    <a:pt x="72" y="529"/>
                  </a:lnTo>
                  <a:lnTo>
                    <a:pt x="1" y="529"/>
                  </a:lnTo>
                  <a:lnTo>
                    <a:pt x="1" y="150"/>
                  </a:lnTo>
                  <a:close/>
                  <a:moveTo>
                    <a:pt x="0" y="0"/>
                  </a:moveTo>
                  <a:lnTo>
                    <a:pt x="72" y="0"/>
                  </a:lnTo>
                  <a:lnTo>
                    <a:pt x="72" y="74"/>
                  </a:lnTo>
                  <a:lnTo>
                    <a:pt x="0" y="7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7" name="Freeform 46">
              <a:extLst>
                <a:ext uri="{FF2B5EF4-FFF2-40B4-BE49-F238E27FC236}">
                  <a16:creationId xmlns:a16="http://schemas.microsoft.com/office/drawing/2014/main" id="{855E9AA8-9D82-9840-9FED-FF849E3CD7CE}"/>
                </a:ext>
              </a:extLst>
            </p:cNvPr>
            <p:cNvSpPr>
              <a:spLocks noEditPoints="1"/>
            </p:cNvSpPr>
            <p:nvPr userDrawn="1"/>
          </p:nvSpPr>
          <p:spPr bwMode="auto">
            <a:xfrm>
              <a:off x="9593263" y="1906588"/>
              <a:ext cx="541338" cy="631825"/>
            </a:xfrm>
            <a:custGeom>
              <a:avLst/>
              <a:gdLst>
                <a:gd name="T0" fmla="*/ 225 w 285"/>
                <a:gd name="T1" fmla="*/ 129 h 332"/>
                <a:gd name="T2" fmla="*/ 151 w 285"/>
                <a:gd name="T3" fmla="*/ 48 h 332"/>
                <a:gd name="T4" fmla="*/ 62 w 285"/>
                <a:gd name="T5" fmla="*/ 129 h 332"/>
                <a:gd name="T6" fmla="*/ 225 w 285"/>
                <a:gd name="T7" fmla="*/ 129 h 332"/>
                <a:gd name="T8" fmla="*/ 153 w 285"/>
                <a:gd name="T9" fmla="*/ 0 h 332"/>
                <a:gd name="T10" fmla="*/ 285 w 285"/>
                <a:gd name="T11" fmla="*/ 148 h 332"/>
                <a:gd name="T12" fmla="*/ 283 w 285"/>
                <a:gd name="T13" fmla="*/ 175 h 332"/>
                <a:gd name="T14" fmla="*/ 60 w 285"/>
                <a:gd name="T15" fmla="*/ 175 h 332"/>
                <a:gd name="T16" fmla="*/ 165 w 285"/>
                <a:gd name="T17" fmla="*/ 279 h 332"/>
                <a:gd name="T18" fmla="*/ 256 w 285"/>
                <a:gd name="T19" fmla="*/ 242 h 332"/>
                <a:gd name="T20" fmla="*/ 280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3" y="75"/>
                    <a:pt x="191" y="48"/>
                    <a:pt x="151" y="48"/>
                  </a:cubicBezTo>
                  <a:cubicBezTo>
                    <a:pt x="107" y="48"/>
                    <a:pt x="70" y="77"/>
                    <a:pt x="62" y="129"/>
                  </a:cubicBezTo>
                  <a:lnTo>
                    <a:pt x="225" y="129"/>
                  </a:lnTo>
                  <a:close/>
                  <a:moveTo>
                    <a:pt x="153" y="0"/>
                  </a:moveTo>
                  <a:cubicBezTo>
                    <a:pt x="239" y="0"/>
                    <a:pt x="285" y="66"/>
                    <a:pt x="285" y="148"/>
                  </a:cubicBezTo>
                  <a:cubicBezTo>
                    <a:pt x="285" y="156"/>
                    <a:pt x="283" y="175"/>
                    <a:pt x="283" y="175"/>
                  </a:cubicBezTo>
                  <a:cubicBezTo>
                    <a:pt x="60" y="175"/>
                    <a:pt x="60" y="175"/>
                    <a:pt x="60" y="175"/>
                  </a:cubicBezTo>
                  <a:cubicBezTo>
                    <a:pt x="63" y="244"/>
                    <a:pt x="111" y="279"/>
                    <a:pt x="165" y="279"/>
                  </a:cubicBezTo>
                  <a:cubicBezTo>
                    <a:pt x="218" y="279"/>
                    <a:pt x="256" y="242"/>
                    <a:pt x="256" y="242"/>
                  </a:cubicBezTo>
                  <a:cubicBezTo>
                    <a:pt x="280" y="287"/>
                    <a:pt x="280" y="287"/>
                    <a:pt x="280" y="287"/>
                  </a:cubicBezTo>
                  <a:cubicBezTo>
                    <a:pt x="280" y="287"/>
                    <a:pt x="235" y="332"/>
                    <a:pt x="162" y="332"/>
                  </a:cubicBezTo>
                  <a:cubicBezTo>
                    <a:pt x="65" y="332"/>
                    <a:pt x="0" y="260"/>
                    <a:pt x="0" y="166"/>
                  </a:cubicBezTo>
                  <a:cubicBezTo>
                    <a:pt x="0" y="65"/>
                    <a:pt x="65"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8" name="Freeform 47">
              <a:extLst>
                <a:ext uri="{FF2B5EF4-FFF2-40B4-BE49-F238E27FC236}">
                  <a16:creationId xmlns:a16="http://schemas.microsoft.com/office/drawing/2014/main" id="{20D49FE0-420E-554B-951E-666CE665F6EE}"/>
                </a:ext>
              </a:extLst>
            </p:cNvPr>
            <p:cNvSpPr>
              <a:spLocks/>
            </p:cNvSpPr>
            <p:nvPr userDrawn="1"/>
          </p:nvSpPr>
          <p:spPr bwMode="auto">
            <a:xfrm>
              <a:off x="10229851" y="1906588"/>
              <a:ext cx="525463" cy="615950"/>
            </a:xfrm>
            <a:custGeom>
              <a:avLst/>
              <a:gdLst>
                <a:gd name="T0" fmla="*/ 0 w 277"/>
                <a:gd name="T1" fmla="*/ 8 h 324"/>
                <a:gd name="T2" fmla="*/ 57 w 277"/>
                <a:gd name="T3" fmla="*/ 8 h 324"/>
                <a:gd name="T4" fmla="*/ 57 w 277"/>
                <a:gd name="T5" fmla="*/ 50 h 324"/>
                <a:gd name="T6" fmla="*/ 56 w 277"/>
                <a:gd name="T7" fmla="*/ 73 h 324"/>
                <a:gd name="T8" fmla="*/ 57 w 277"/>
                <a:gd name="T9" fmla="*/ 73 h 324"/>
                <a:gd name="T10" fmla="*/ 172 w 277"/>
                <a:gd name="T11" fmla="*/ 0 h 324"/>
                <a:gd name="T12" fmla="*/ 277 w 277"/>
                <a:gd name="T13" fmla="*/ 122 h 324"/>
                <a:gd name="T14" fmla="*/ 277 w 277"/>
                <a:gd name="T15" fmla="*/ 324 h 324"/>
                <a:gd name="T16" fmla="*/ 218 w 277"/>
                <a:gd name="T17" fmla="*/ 324 h 324"/>
                <a:gd name="T18" fmla="*/ 218 w 277"/>
                <a:gd name="T19" fmla="*/ 135 h 324"/>
                <a:gd name="T20" fmla="*/ 160 w 277"/>
                <a:gd name="T21" fmla="*/ 56 h 324"/>
                <a:gd name="T22" fmla="*/ 63 w 277"/>
                <a:gd name="T23" fmla="*/ 133 h 324"/>
                <a:gd name="T24" fmla="*/ 59 w 277"/>
                <a:gd name="T25" fmla="*/ 176 h 324"/>
                <a:gd name="T26" fmla="*/ 59 w 277"/>
                <a:gd name="T27" fmla="*/ 324 h 324"/>
                <a:gd name="T28" fmla="*/ 0 w 277"/>
                <a:gd name="T29" fmla="*/ 324 h 324"/>
                <a:gd name="T30" fmla="*/ 0 w 277"/>
                <a:gd name="T31" fmla="*/ 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8"/>
                  </a:moveTo>
                  <a:cubicBezTo>
                    <a:pt x="57" y="8"/>
                    <a:pt x="57" y="8"/>
                    <a:pt x="57" y="8"/>
                  </a:cubicBezTo>
                  <a:cubicBezTo>
                    <a:pt x="57" y="50"/>
                    <a:pt x="57" y="50"/>
                    <a:pt x="57" y="50"/>
                  </a:cubicBezTo>
                  <a:cubicBezTo>
                    <a:pt x="57" y="62"/>
                    <a:pt x="56" y="73"/>
                    <a:pt x="56" y="73"/>
                  </a:cubicBezTo>
                  <a:cubicBezTo>
                    <a:pt x="57" y="73"/>
                    <a:pt x="57" y="73"/>
                    <a:pt x="57" y="73"/>
                  </a:cubicBezTo>
                  <a:cubicBezTo>
                    <a:pt x="69" y="45"/>
                    <a:pt x="105" y="0"/>
                    <a:pt x="172" y="0"/>
                  </a:cubicBezTo>
                  <a:cubicBezTo>
                    <a:pt x="244" y="0"/>
                    <a:pt x="277" y="41"/>
                    <a:pt x="277" y="122"/>
                  </a:cubicBezTo>
                  <a:cubicBezTo>
                    <a:pt x="277" y="324"/>
                    <a:pt x="277" y="324"/>
                    <a:pt x="277" y="324"/>
                  </a:cubicBezTo>
                  <a:cubicBezTo>
                    <a:pt x="218" y="324"/>
                    <a:pt x="218" y="324"/>
                    <a:pt x="218" y="324"/>
                  </a:cubicBezTo>
                  <a:cubicBezTo>
                    <a:pt x="218" y="135"/>
                    <a:pt x="218" y="135"/>
                    <a:pt x="218" y="135"/>
                  </a:cubicBezTo>
                  <a:cubicBezTo>
                    <a:pt x="218" y="91"/>
                    <a:pt x="209" y="56"/>
                    <a:pt x="160" y="56"/>
                  </a:cubicBezTo>
                  <a:cubicBezTo>
                    <a:pt x="114" y="56"/>
                    <a:pt x="76" y="88"/>
                    <a:pt x="63" y="133"/>
                  </a:cubicBezTo>
                  <a:cubicBezTo>
                    <a:pt x="60" y="146"/>
                    <a:pt x="59" y="160"/>
                    <a:pt x="59" y="176"/>
                  </a:cubicBezTo>
                  <a:cubicBezTo>
                    <a:pt x="59" y="324"/>
                    <a:pt x="59" y="324"/>
                    <a:pt x="59" y="324"/>
                  </a:cubicBezTo>
                  <a:cubicBezTo>
                    <a:pt x="0" y="324"/>
                    <a:pt x="0" y="324"/>
                    <a:pt x="0" y="324"/>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9" name="Freeform 48">
              <a:extLst>
                <a:ext uri="{FF2B5EF4-FFF2-40B4-BE49-F238E27FC236}">
                  <a16:creationId xmlns:a16="http://schemas.microsoft.com/office/drawing/2014/main" id="{4695C3CA-CC04-0E4B-8D0A-1D1E5985BC2B}"/>
                </a:ext>
              </a:extLst>
            </p:cNvPr>
            <p:cNvSpPr>
              <a:spLocks/>
            </p:cNvSpPr>
            <p:nvPr userDrawn="1"/>
          </p:nvSpPr>
          <p:spPr bwMode="auto">
            <a:xfrm>
              <a:off x="10839451"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0" name="Freeform 49">
              <a:extLst>
                <a:ext uri="{FF2B5EF4-FFF2-40B4-BE49-F238E27FC236}">
                  <a16:creationId xmlns:a16="http://schemas.microsoft.com/office/drawing/2014/main" id="{50E4942D-8440-334F-82AE-1F217C50DD50}"/>
                </a:ext>
              </a:extLst>
            </p:cNvPr>
            <p:cNvSpPr>
              <a:spLocks noEditPoints="1"/>
            </p:cNvSpPr>
            <p:nvPr userDrawn="1"/>
          </p:nvSpPr>
          <p:spPr bwMode="auto">
            <a:xfrm>
              <a:off x="11409363" y="1906588"/>
              <a:ext cx="541338" cy="631825"/>
            </a:xfrm>
            <a:custGeom>
              <a:avLst/>
              <a:gdLst>
                <a:gd name="T0" fmla="*/ 225 w 285"/>
                <a:gd name="T1" fmla="*/ 129 h 332"/>
                <a:gd name="T2" fmla="*/ 152 w 285"/>
                <a:gd name="T3" fmla="*/ 48 h 332"/>
                <a:gd name="T4" fmla="*/ 62 w 285"/>
                <a:gd name="T5" fmla="*/ 129 h 332"/>
                <a:gd name="T6" fmla="*/ 225 w 285"/>
                <a:gd name="T7" fmla="*/ 129 h 332"/>
                <a:gd name="T8" fmla="*/ 153 w 285"/>
                <a:gd name="T9" fmla="*/ 0 h 332"/>
                <a:gd name="T10" fmla="*/ 285 w 285"/>
                <a:gd name="T11" fmla="*/ 148 h 332"/>
                <a:gd name="T12" fmla="*/ 284 w 285"/>
                <a:gd name="T13" fmla="*/ 175 h 332"/>
                <a:gd name="T14" fmla="*/ 60 w 285"/>
                <a:gd name="T15" fmla="*/ 175 h 332"/>
                <a:gd name="T16" fmla="*/ 166 w 285"/>
                <a:gd name="T17" fmla="*/ 279 h 332"/>
                <a:gd name="T18" fmla="*/ 256 w 285"/>
                <a:gd name="T19" fmla="*/ 242 h 332"/>
                <a:gd name="T20" fmla="*/ 281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4" y="75"/>
                    <a:pt x="191" y="48"/>
                    <a:pt x="152" y="48"/>
                  </a:cubicBezTo>
                  <a:cubicBezTo>
                    <a:pt x="107" y="48"/>
                    <a:pt x="71" y="77"/>
                    <a:pt x="62" y="129"/>
                  </a:cubicBezTo>
                  <a:lnTo>
                    <a:pt x="225" y="129"/>
                  </a:lnTo>
                  <a:close/>
                  <a:moveTo>
                    <a:pt x="153" y="0"/>
                  </a:moveTo>
                  <a:cubicBezTo>
                    <a:pt x="239" y="0"/>
                    <a:pt x="285" y="66"/>
                    <a:pt x="285" y="148"/>
                  </a:cubicBezTo>
                  <a:cubicBezTo>
                    <a:pt x="285" y="156"/>
                    <a:pt x="284" y="175"/>
                    <a:pt x="284" y="175"/>
                  </a:cubicBezTo>
                  <a:cubicBezTo>
                    <a:pt x="60" y="175"/>
                    <a:pt x="60" y="175"/>
                    <a:pt x="60" y="175"/>
                  </a:cubicBezTo>
                  <a:cubicBezTo>
                    <a:pt x="63" y="244"/>
                    <a:pt x="111" y="279"/>
                    <a:pt x="166" y="279"/>
                  </a:cubicBezTo>
                  <a:cubicBezTo>
                    <a:pt x="218" y="279"/>
                    <a:pt x="256" y="242"/>
                    <a:pt x="256" y="242"/>
                  </a:cubicBezTo>
                  <a:cubicBezTo>
                    <a:pt x="281" y="287"/>
                    <a:pt x="281" y="287"/>
                    <a:pt x="281" y="287"/>
                  </a:cubicBezTo>
                  <a:cubicBezTo>
                    <a:pt x="281" y="287"/>
                    <a:pt x="235" y="332"/>
                    <a:pt x="162" y="332"/>
                  </a:cubicBezTo>
                  <a:cubicBezTo>
                    <a:pt x="66" y="332"/>
                    <a:pt x="0" y="260"/>
                    <a:pt x="0" y="166"/>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1" name="Rectangle 50">
              <a:extLst>
                <a:ext uri="{FF2B5EF4-FFF2-40B4-BE49-F238E27FC236}">
                  <a16:creationId xmlns:a16="http://schemas.microsoft.com/office/drawing/2014/main" id="{003180EB-96F6-184F-8EB5-D8835AEA7247}"/>
                </a:ext>
              </a:extLst>
            </p:cNvPr>
            <p:cNvSpPr>
              <a:spLocks noChangeArrowheads="1"/>
            </p:cNvSpPr>
            <p:nvPr userDrawn="1"/>
          </p:nvSpPr>
          <p:spPr bwMode="auto">
            <a:xfrm>
              <a:off x="12044363" y="2401888"/>
              <a:ext cx="117475" cy="120650"/>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grpSp>
      <p:grpSp>
        <p:nvGrpSpPr>
          <p:cNvPr id="52" name="Group 51">
            <a:extLst>
              <a:ext uri="{FF2B5EF4-FFF2-40B4-BE49-F238E27FC236}">
                <a16:creationId xmlns:a16="http://schemas.microsoft.com/office/drawing/2014/main" id="{134DC5C5-393C-C040-8C81-AD2E0430D9BB}"/>
              </a:ext>
            </a:extLst>
          </p:cNvPr>
          <p:cNvGrpSpPr/>
          <p:nvPr/>
        </p:nvGrpSpPr>
        <p:grpSpPr>
          <a:xfrm rot="5400000">
            <a:off x="3313584" y="-1111608"/>
            <a:ext cx="230832" cy="3501854"/>
            <a:chOff x="0" y="1980381"/>
            <a:chExt cx="230832" cy="3501854"/>
          </a:xfrm>
        </p:grpSpPr>
        <p:sp>
          <p:nvSpPr>
            <p:cNvPr id="53" name="TextBox 52">
              <a:extLst>
                <a:ext uri="{FF2B5EF4-FFF2-40B4-BE49-F238E27FC236}">
                  <a16:creationId xmlns:a16="http://schemas.microsoft.com/office/drawing/2014/main" id="{F654233D-9100-1545-8214-468190CC56DA}"/>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54" name="Straight Connector 53">
              <a:extLst>
                <a:ext uri="{FF2B5EF4-FFF2-40B4-BE49-F238E27FC236}">
                  <a16:creationId xmlns:a16="http://schemas.microsoft.com/office/drawing/2014/main" id="{66F803A4-2CFE-804F-BE8F-EEBE08063248}"/>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F86BA98-A951-0142-B3E7-0268A8F8C836}"/>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9262693"/>
      </p:ext>
    </p:extLst>
  </p:cSld>
  <p:clrMap bg1="lt1" tx1="dk1" bg2="lt2" tx2="dk2" accent1="accent1" accent2="accent2" accent3="accent3" accent4="accent4" accent5="accent5" accent6="accent6" hlink="hlink" folHlink="folHlink"/>
  <p:notesStyle>
    <a:lvl1pPr marL="1714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1pPr>
    <a:lvl2pPr marL="6286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10858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15430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2000250" indent="-17145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1">
    <p:spTree>
      <p:nvGrpSpPr>
        <p:cNvPr id="1" name=""/>
        <p:cNvGrpSpPr/>
        <p:nvPr/>
      </p:nvGrpSpPr>
      <p:grpSpPr>
        <a:xfrm>
          <a:off x="0" y="0"/>
          <a:ext cx="0" cy="0"/>
          <a:chOff x="0" y="0"/>
          <a:chExt cx="0" cy="0"/>
        </a:xfrm>
      </p:grpSpPr>
      <p:sp>
        <p:nvSpPr>
          <p:cNvPr id="65" name="Picture Placeholder 64">
            <a:extLst>
              <a:ext uri="{FF2B5EF4-FFF2-40B4-BE49-F238E27FC236}">
                <a16:creationId xmlns:a16="http://schemas.microsoft.com/office/drawing/2014/main" id="{B8D670EA-1E47-EE44-9859-BF14C627EA3B}"/>
              </a:ext>
            </a:extLst>
          </p:cNvPr>
          <p:cNvSpPr>
            <a:spLocks noGrp="1"/>
          </p:cNvSpPr>
          <p:nvPr>
            <p:ph type="pic" sz="quarter" idx="10"/>
          </p:nvPr>
        </p:nvSpPr>
        <p:spPr>
          <a:xfrm>
            <a:off x="8" y="4"/>
            <a:ext cx="12191993" cy="6857996"/>
          </a:xfrm>
          <a:custGeom>
            <a:avLst/>
            <a:gdLst>
              <a:gd name="connsiteX0" fmla="*/ 3578903 w 12191993"/>
              <a:gd name="connsiteY0" fmla="*/ 6416506 h 6857996"/>
              <a:gd name="connsiteX1" fmla="*/ 3578903 w 12191993"/>
              <a:gd name="connsiteY1" fmla="*/ 6449909 h 6857996"/>
              <a:gd name="connsiteX2" fmla="*/ 3611987 w 12191993"/>
              <a:gd name="connsiteY2" fmla="*/ 6449909 h 6857996"/>
              <a:gd name="connsiteX3" fmla="*/ 3611987 w 12191993"/>
              <a:gd name="connsiteY3" fmla="*/ 6416506 h 6857996"/>
              <a:gd name="connsiteX4" fmla="*/ 3481994 w 12191993"/>
              <a:gd name="connsiteY4" fmla="*/ 6306894 h 6857996"/>
              <a:gd name="connsiteX5" fmla="*/ 3521564 w 12191993"/>
              <a:gd name="connsiteY5" fmla="*/ 6348729 h 6857996"/>
              <a:gd name="connsiteX6" fmla="*/ 3433990 w 12191993"/>
              <a:gd name="connsiteY6" fmla="*/ 6348729 h 6857996"/>
              <a:gd name="connsiteX7" fmla="*/ 3481994 w 12191993"/>
              <a:gd name="connsiteY7" fmla="*/ 6306894 h 6857996"/>
              <a:gd name="connsiteX8" fmla="*/ 2971631 w 12191993"/>
              <a:gd name="connsiteY8" fmla="*/ 6306894 h 6857996"/>
              <a:gd name="connsiteX9" fmla="*/ 3011201 w 12191993"/>
              <a:gd name="connsiteY9" fmla="*/ 6348729 h 6857996"/>
              <a:gd name="connsiteX10" fmla="*/ 2923627 w 12191993"/>
              <a:gd name="connsiteY10" fmla="*/ 6348729 h 6857996"/>
              <a:gd name="connsiteX11" fmla="*/ 2971631 w 12191993"/>
              <a:gd name="connsiteY11" fmla="*/ 6306894 h 6857996"/>
              <a:gd name="connsiteX12" fmla="*/ 2218851 w 12191993"/>
              <a:gd name="connsiteY12" fmla="*/ 6297163 h 6857996"/>
              <a:gd name="connsiteX13" fmla="*/ 2275288 w 12191993"/>
              <a:gd name="connsiteY13" fmla="*/ 6368835 h 6857996"/>
              <a:gd name="connsiteX14" fmla="*/ 2217552 w 12191993"/>
              <a:gd name="connsiteY14" fmla="*/ 6440507 h 6857996"/>
              <a:gd name="connsiteX15" fmla="*/ 2161116 w 12191993"/>
              <a:gd name="connsiteY15" fmla="*/ 6369160 h 6857996"/>
              <a:gd name="connsiteX16" fmla="*/ 2218851 w 12191993"/>
              <a:gd name="connsiteY16" fmla="*/ 6297163 h 6857996"/>
              <a:gd name="connsiteX17" fmla="*/ 1782667 w 12191993"/>
              <a:gd name="connsiteY17" fmla="*/ 6296514 h 6857996"/>
              <a:gd name="connsiteX18" fmla="*/ 1834887 w 12191993"/>
              <a:gd name="connsiteY18" fmla="*/ 6353915 h 6857996"/>
              <a:gd name="connsiteX19" fmla="*/ 1719416 w 12191993"/>
              <a:gd name="connsiteY19" fmla="*/ 6353915 h 6857996"/>
              <a:gd name="connsiteX20" fmla="*/ 1782667 w 12191993"/>
              <a:gd name="connsiteY20" fmla="*/ 6296514 h 6857996"/>
              <a:gd name="connsiteX21" fmla="*/ 2293320 w 12191993"/>
              <a:gd name="connsiteY21" fmla="*/ 6287757 h 6857996"/>
              <a:gd name="connsiteX22" fmla="*/ 2360462 w 12191993"/>
              <a:gd name="connsiteY22" fmla="*/ 6448936 h 6857996"/>
              <a:gd name="connsiteX23" fmla="*/ 2348783 w 12191993"/>
              <a:gd name="connsiteY23" fmla="*/ 6475855 h 6857996"/>
              <a:gd name="connsiteX24" fmla="*/ 2316996 w 12191993"/>
              <a:gd name="connsiteY24" fmla="*/ 6505042 h 6857996"/>
              <a:gd name="connsiteX25" fmla="*/ 2296883 w 12191993"/>
              <a:gd name="connsiteY25" fmla="*/ 6497259 h 6857996"/>
              <a:gd name="connsiteX26" fmla="*/ 2290722 w 12191993"/>
              <a:gd name="connsiteY26" fmla="*/ 6508934 h 6857996"/>
              <a:gd name="connsiteX27" fmla="*/ 2316996 w 12191993"/>
              <a:gd name="connsiteY27" fmla="*/ 6518015 h 6857996"/>
              <a:gd name="connsiteX28" fmla="*/ 2358190 w 12191993"/>
              <a:gd name="connsiteY28" fmla="*/ 6487853 h 6857996"/>
              <a:gd name="connsiteX29" fmla="*/ 2441550 w 12191993"/>
              <a:gd name="connsiteY29" fmla="*/ 6287757 h 6857996"/>
              <a:gd name="connsiteX30" fmla="*/ 2426956 w 12191993"/>
              <a:gd name="connsiteY30" fmla="*/ 6287757 h 6857996"/>
              <a:gd name="connsiteX31" fmla="*/ 2373434 w 12191993"/>
              <a:gd name="connsiteY31" fmla="*/ 6417155 h 6857996"/>
              <a:gd name="connsiteX32" fmla="*/ 2367922 w 12191993"/>
              <a:gd name="connsiteY32" fmla="*/ 6432396 h 6857996"/>
              <a:gd name="connsiteX33" fmla="*/ 2367272 w 12191993"/>
              <a:gd name="connsiteY33" fmla="*/ 6432396 h 6857996"/>
              <a:gd name="connsiteX34" fmla="*/ 2361429 w 12191993"/>
              <a:gd name="connsiteY34" fmla="*/ 6417155 h 6857996"/>
              <a:gd name="connsiteX35" fmla="*/ 2307914 w 12191993"/>
              <a:gd name="connsiteY35" fmla="*/ 6287757 h 6857996"/>
              <a:gd name="connsiteX36" fmla="*/ 1560161 w 12191993"/>
              <a:gd name="connsiteY36" fmla="*/ 6287757 h 6857996"/>
              <a:gd name="connsiteX37" fmla="*/ 1624058 w 12191993"/>
              <a:gd name="connsiteY37" fmla="*/ 6449909 h 6857996"/>
              <a:gd name="connsiteX38" fmla="*/ 1637032 w 12191993"/>
              <a:gd name="connsiteY38" fmla="*/ 6449909 h 6857996"/>
              <a:gd name="connsiteX39" fmla="*/ 1700608 w 12191993"/>
              <a:gd name="connsiteY39" fmla="*/ 6287757 h 6857996"/>
              <a:gd name="connsiteX40" fmla="*/ 1686334 w 12191993"/>
              <a:gd name="connsiteY40" fmla="*/ 6287757 h 6857996"/>
              <a:gd name="connsiteX41" fmla="*/ 1636383 w 12191993"/>
              <a:gd name="connsiteY41" fmla="*/ 6414887 h 6857996"/>
              <a:gd name="connsiteX42" fmla="*/ 1630868 w 12191993"/>
              <a:gd name="connsiteY42" fmla="*/ 6432396 h 6857996"/>
              <a:gd name="connsiteX43" fmla="*/ 1630218 w 12191993"/>
              <a:gd name="connsiteY43" fmla="*/ 6432396 h 6857996"/>
              <a:gd name="connsiteX44" fmla="*/ 1624707 w 12191993"/>
              <a:gd name="connsiteY44" fmla="*/ 6414887 h 6857996"/>
              <a:gd name="connsiteX45" fmla="*/ 1574755 w 12191993"/>
              <a:gd name="connsiteY45" fmla="*/ 6287757 h 6857996"/>
              <a:gd name="connsiteX46" fmla="*/ 1526463 w 12191993"/>
              <a:gd name="connsiteY46" fmla="*/ 6287757 h 6857996"/>
              <a:gd name="connsiteX47" fmla="*/ 1526463 w 12191993"/>
              <a:gd name="connsiteY47" fmla="*/ 6449909 h 6857996"/>
              <a:gd name="connsiteX48" fmla="*/ 1540087 w 12191993"/>
              <a:gd name="connsiteY48" fmla="*/ 6449909 h 6857996"/>
              <a:gd name="connsiteX49" fmla="*/ 1540087 w 12191993"/>
              <a:gd name="connsiteY49" fmla="*/ 6287757 h 6857996"/>
              <a:gd name="connsiteX50" fmla="*/ 1496207 w 12191993"/>
              <a:gd name="connsiteY50" fmla="*/ 6286463 h 6857996"/>
              <a:gd name="connsiteX51" fmla="*/ 1444311 w 12191993"/>
              <a:gd name="connsiteY51" fmla="*/ 6331866 h 6857996"/>
              <a:gd name="connsiteX52" fmla="*/ 1443661 w 12191993"/>
              <a:gd name="connsiteY52" fmla="*/ 6331866 h 6857996"/>
              <a:gd name="connsiteX53" fmla="*/ 1444960 w 12191993"/>
              <a:gd name="connsiteY53" fmla="*/ 6318568 h 6857996"/>
              <a:gd name="connsiteX54" fmla="*/ 1444960 w 12191993"/>
              <a:gd name="connsiteY54" fmla="*/ 6287757 h 6857996"/>
              <a:gd name="connsiteX55" fmla="*/ 1431332 w 12191993"/>
              <a:gd name="connsiteY55" fmla="*/ 6287757 h 6857996"/>
              <a:gd name="connsiteX56" fmla="*/ 1431332 w 12191993"/>
              <a:gd name="connsiteY56" fmla="*/ 6449910 h 6857996"/>
              <a:gd name="connsiteX57" fmla="*/ 1444960 w 12191993"/>
              <a:gd name="connsiteY57" fmla="*/ 6449910 h 6857996"/>
              <a:gd name="connsiteX58" fmla="*/ 1444960 w 12191993"/>
              <a:gd name="connsiteY58" fmla="*/ 6379861 h 6857996"/>
              <a:gd name="connsiteX59" fmla="*/ 1449821 w 12191993"/>
              <a:gd name="connsiteY59" fmla="*/ 6345808 h 6857996"/>
              <a:gd name="connsiteX60" fmla="*/ 1498150 w 12191993"/>
              <a:gd name="connsiteY60" fmla="*/ 6300406 h 6857996"/>
              <a:gd name="connsiteX61" fmla="*/ 1505609 w 12191993"/>
              <a:gd name="connsiteY61" fmla="*/ 6301055 h 6857996"/>
              <a:gd name="connsiteX62" fmla="*/ 1505609 w 12191993"/>
              <a:gd name="connsiteY62" fmla="*/ 6287433 h 6857996"/>
              <a:gd name="connsiteX63" fmla="*/ 1496207 w 12191993"/>
              <a:gd name="connsiteY63" fmla="*/ 6286463 h 6857996"/>
              <a:gd name="connsiteX64" fmla="*/ 2833876 w 12191993"/>
              <a:gd name="connsiteY64" fmla="*/ 6285815 h 6857996"/>
              <a:gd name="connsiteX65" fmla="*/ 2833876 w 12191993"/>
              <a:gd name="connsiteY65" fmla="*/ 6449910 h 6857996"/>
              <a:gd name="connsiteX66" fmla="*/ 2865337 w 12191993"/>
              <a:gd name="connsiteY66" fmla="*/ 6449910 h 6857996"/>
              <a:gd name="connsiteX67" fmla="*/ 2865337 w 12191993"/>
              <a:gd name="connsiteY67" fmla="*/ 6285815 h 6857996"/>
              <a:gd name="connsiteX68" fmla="*/ 1962617 w 12191993"/>
              <a:gd name="connsiteY68" fmla="*/ 6283866 h 6857996"/>
              <a:gd name="connsiteX69" fmla="*/ 1893850 w 12191993"/>
              <a:gd name="connsiteY69" fmla="*/ 6329593 h 6857996"/>
              <a:gd name="connsiteX70" fmla="*/ 1893201 w 12191993"/>
              <a:gd name="connsiteY70" fmla="*/ 6329593 h 6857996"/>
              <a:gd name="connsiteX71" fmla="*/ 1894499 w 12191993"/>
              <a:gd name="connsiteY71" fmla="*/ 6316296 h 6857996"/>
              <a:gd name="connsiteX72" fmla="*/ 1894499 w 12191993"/>
              <a:gd name="connsiteY72" fmla="*/ 6287757 h 6857996"/>
              <a:gd name="connsiteX73" fmla="*/ 1880875 w 12191993"/>
              <a:gd name="connsiteY73" fmla="*/ 6287757 h 6857996"/>
              <a:gd name="connsiteX74" fmla="*/ 1880875 w 12191993"/>
              <a:gd name="connsiteY74" fmla="*/ 6449909 h 6857996"/>
              <a:gd name="connsiteX75" fmla="*/ 1894500 w 12191993"/>
              <a:gd name="connsiteY75" fmla="*/ 6449909 h 6857996"/>
              <a:gd name="connsiteX76" fmla="*/ 1894500 w 12191993"/>
              <a:gd name="connsiteY76" fmla="*/ 6370779 h 6857996"/>
              <a:gd name="connsiteX77" fmla="*/ 1897093 w 12191993"/>
              <a:gd name="connsiteY77" fmla="*/ 6348730 h 6857996"/>
              <a:gd name="connsiteX78" fmla="*/ 1962617 w 12191993"/>
              <a:gd name="connsiteY78" fmla="*/ 6297163 h 6857996"/>
              <a:gd name="connsiteX79" fmla="*/ 2002511 w 12191993"/>
              <a:gd name="connsiteY79" fmla="*/ 6351972 h 6857996"/>
              <a:gd name="connsiteX80" fmla="*/ 2002511 w 12191993"/>
              <a:gd name="connsiteY80" fmla="*/ 6449909 h 6857996"/>
              <a:gd name="connsiteX81" fmla="*/ 2016132 w 12191993"/>
              <a:gd name="connsiteY81" fmla="*/ 6449909 h 6857996"/>
              <a:gd name="connsiteX82" fmla="*/ 2016132 w 12191993"/>
              <a:gd name="connsiteY82" fmla="*/ 6347107 h 6857996"/>
              <a:gd name="connsiteX83" fmla="*/ 1962617 w 12191993"/>
              <a:gd name="connsiteY83" fmla="*/ 6283866 h 6857996"/>
              <a:gd name="connsiteX84" fmla="*/ 1782992 w 12191993"/>
              <a:gd name="connsiteY84" fmla="*/ 6283866 h 6857996"/>
              <a:gd name="connsiteX85" fmla="*/ 1704172 w 12191993"/>
              <a:gd name="connsiteY85" fmla="*/ 6369160 h 6857996"/>
              <a:gd name="connsiteX86" fmla="*/ 1787858 w 12191993"/>
              <a:gd name="connsiteY86" fmla="*/ 6453801 h 6857996"/>
              <a:gd name="connsiteX87" fmla="*/ 1845593 w 12191993"/>
              <a:gd name="connsiteY87" fmla="*/ 6431427 h 6857996"/>
              <a:gd name="connsiteX88" fmla="*/ 1838134 w 12191993"/>
              <a:gd name="connsiteY88" fmla="*/ 6420073 h 6857996"/>
              <a:gd name="connsiteX89" fmla="*/ 1787858 w 12191993"/>
              <a:gd name="connsiteY89" fmla="*/ 6440508 h 6857996"/>
              <a:gd name="connsiteX90" fmla="*/ 1718442 w 12191993"/>
              <a:gd name="connsiteY90" fmla="*/ 6366563 h 6857996"/>
              <a:gd name="connsiteX91" fmla="*/ 1848511 w 12191993"/>
              <a:gd name="connsiteY91" fmla="*/ 6366563 h 6857996"/>
              <a:gd name="connsiteX92" fmla="*/ 1849161 w 12191993"/>
              <a:gd name="connsiteY92" fmla="*/ 6357807 h 6857996"/>
              <a:gd name="connsiteX93" fmla="*/ 1782992 w 12191993"/>
              <a:gd name="connsiteY93" fmla="*/ 6283866 h 6857996"/>
              <a:gd name="connsiteX94" fmla="*/ 3482643 w 12191993"/>
              <a:gd name="connsiteY94" fmla="*/ 6281922 h 6857996"/>
              <a:gd name="connsiteX95" fmla="*/ 3400581 w 12191993"/>
              <a:gd name="connsiteY95" fmla="*/ 6367862 h 6857996"/>
              <a:gd name="connsiteX96" fmla="*/ 3487504 w 12191993"/>
              <a:gd name="connsiteY96" fmla="*/ 6453801 h 6857996"/>
              <a:gd name="connsiteX97" fmla="*/ 3551085 w 12191993"/>
              <a:gd name="connsiteY97" fmla="*/ 6430452 h 6857996"/>
              <a:gd name="connsiteX98" fmla="*/ 3538105 w 12191993"/>
              <a:gd name="connsiteY98" fmla="*/ 6407425 h 6857996"/>
              <a:gd name="connsiteX99" fmla="*/ 3489453 w 12191993"/>
              <a:gd name="connsiteY99" fmla="*/ 6426561 h 6857996"/>
              <a:gd name="connsiteX100" fmla="*/ 3433015 w 12191993"/>
              <a:gd name="connsiteY100" fmla="*/ 6372402 h 6857996"/>
              <a:gd name="connsiteX101" fmla="*/ 3552700 w 12191993"/>
              <a:gd name="connsiteY101" fmla="*/ 6372402 h 6857996"/>
              <a:gd name="connsiteX102" fmla="*/ 3553673 w 12191993"/>
              <a:gd name="connsiteY102" fmla="*/ 6358780 h 6857996"/>
              <a:gd name="connsiteX103" fmla="*/ 3482643 w 12191993"/>
              <a:gd name="connsiteY103" fmla="*/ 6281922 h 6857996"/>
              <a:gd name="connsiteX104" fmla="*/ 3328545 w 12191993"/>
              <a:gd name="connsiteY104" fmla="*/ 6281922 h 6857996"/>
              <a:gd name="connsiteX105" fmla="*/ 3240639 w 12191993"/>
              <a:gd name="connsiteY105" fmla="*/ 6367862 h 6857996"/>
              <a:gd name="connsiteX106" fmla="*/ 3328545 w 12191993"/>
              <a:gd name="connsiteY106" fmla="*/ 6453801 h 6857996"/>
              <a:gd name="connsiteX107" fmla="*/ 3394065 w 12191993"/>
              <a:gd name="connsiteY107" fmla="*/ 6427535 h 6857996"/>
              <a:gd name="connsiteX108" fmla="*/ 3381411 w 12191993"/>
              <a:gd name="connsiteY108" fmla="*/ 6404507 h 6857996"/>
              <a:gd name="connsiteX109" fmla="*/ 3330810 w 12191993"/>
              <a:gd name="connsiteY109" fmla="*/ 6426561 h 6857996"/>
              <a:gd name="connsiteX110" fmla="*/ 3272749 w 12191993"/>
              <a:gd name="connsiteY110" fmla="*/ 6367536 h 6857996"/>
              <a:gd name="connsiteX111" fmla="*/ 3329836 w 12191993"/>
              <a:gd name="connsiteY111" fmla="*/ 6309162 h 6857996"/>
              <a:gd name="connsiteX112" fmla="*/ 3375250 w 12191993"/>
              <a:gd name="connsiteY112" fmla="*/ 6327973 h 6857996"/>
              <a:gd name="connsiteX113" fmla="*/ 3390169 w 12191993"/>
              <a:gd name="connsiteY113" fmla="*/ 6305919 h 6857996"/>
              <a:gd name="connsiteX114" fmla="*/ 3328545 w 12191993"/>
              <a:gd name="connsiteY114" fmla="*/ 6281922 h 6857996"/>
              <a:gd name="connsiteX115" fmla="*/ 3161340 w 12191993"/>
              <a:gd name="connsiteY115" fmla="*/ 6281922 h 6857996"/>
              <a:gd name="connsiteX116" fmla="*/ 3099708 w 12191993"/>
              <a:gd name="connsiteY116" fmla="*/ 6319542 h 6857996"/>
              <a:gd name="connsiteX117" fmla="*/ 3099059 w 12191993"/>
              <a:gd name="connsiteY117" fmla="*/ 6319542 h 6857996"/>
              <a:gd name="connsiteX118" fmla="*/ 3099708 w 12191993"/>
              <a:gd name="connsiteY118" fmla="*/ 6307543 h 6857996"/>
              <a:gd name="connsiteX119" fmla="*/ 3099708 w 12191993"/>
              <a:gd name="connsiteY119" fmla="*/ 6285814 h 6857996"/>
              <a:gd name="connsiteX120" fmla="*/ 3069221 w 12191993"/>
              <a:gd name="connsiteY120" fmla="*/ 6285814 h 6857996"/>
              <a:gd name="connsiteX121" fmla="*/ 3069221 w 12191993"/>
              <a:gd name="connsiteY121" fmla="*/ 6449909 h 6857996"/>
              <a:gd name="connsiteX122" fmla="*/ 3100682 w 12191993"/>
              <a:gd name="connsiteY122" fmla="*/ 6449909 h 6857996"/>
              <a:gd name="connsiteX123" fmla="*/ 3100682 w 12191993"/>
              <a:gd name="connsiteY123" fmla="*/ 6373051 h 6857996"/>
              <a:gd name="connsiteX124" fmla="*/ 3103280 w 12191993"/>
              <a:gd name="connsiteY124" fmla="*/ 6350997 h 6857996"/>
              <a:gd name="connsiteX125" fmla="*/ 3155171 w 12191993"/>
              <a:gd name="connsiteY125" fmla="*/ 6310785 h 6857996"/>
              <a:gd name="connsiteX126" fmla="*/ 3186316 w 12191993"/>
              <a:gd name="connsiteY126" fmla="*/ 6351971 h 6857996"/>
              <a:gd name="connsiteX127" fmla="*/ 3186316 w 12191993"/>
              <a:gd name="connsiteY127" fmla="*/ 6449909 h 6857996"/>
              <a:gd name="connsiteX128" fmla="*/ 3217777 w 12191993"/>
              <a:gd name="connsiteY128" fmla="*/ 6449909 h 6857996"/>
              <a:gd name="connsiteX129" fmla="*/ 3217777 w 12191993"/>
              <a:gd name="connsiteY129" fmla="*/ 6344838 h 6857996"/>
              <a:gd name="connsiteX130" fmla="*/ 3161340 w 12191993"/>
              <a:gd name="connsiteY130" fmla="*/ 6281922 h 6857996"/>
              <a:gd name="connsiteX131" fmla="*/ 2972280 w 12191993"/>
              <a:gd name="connsiteY131" fmla="*/ 6281922 h 6857996"/>
              <a:gd name="connsiteX132" fmla="*/ 2890218 w 12191993"/>
              <a:gd name="connsiteY132" fmla="*/ 6367862 h 6857996"/>
              <a:gd name="connsiteX133" fmla="*/ 2977142 w 12191993"/>
              <a:gd name="connsiteY133" fmla="*/ 6453801 h 6857996"/>
              <a:gd name="connsiteX134" fmla="*/ 3040722 w 12191993"/>
              <a:gd name="connsiteY134" fmla="*/ 6430452 h 6857996"/>
              <a:gd name="connsiteX135" fmla="*/ 3027743 w 12191993"/>
              <a:gd name="connsiteY135" fmla="*/ 6407425 h 6857996"/>
              <a:gd name="connsiteX136" fmla="*/ 2979090 w 12191993"/>
              <a:gd name="connsiteY136" fmla="*/ 6426561 h 6857996"/>
              <a:gd name="connsiteX137" fmla="*/ 2922653 w 12191993"/>
              <a:gd name="connsiteY137" fmla="*/ 6372402 h 6857996"/>
              <a:gd name="connsiteX138" fmla="*/ 3042338 w 12191993"/>
              <a:gd name="connsiteY138" fmla="*/ 6372402 h 6857996"/>
              <a:gd name="connsiteX139" fmla="*/ 3043311 w 12191993"/>
              <a:gd name="connsiteY139" fmla="*/ 6358780 h 6857996"/>
              <a:gd name="connsiteX140" fmla="*/ 2972280 w 12191993"/>
              <a:gd name="connsiteY140" fmla="*/ 6281922 h 6857996"/>
              <a:gd name="connsiteX141" fmla="*/ 2748837 w 12191993"/>
              <a:gd name="connsiteY141" fmla="*/ 6281922 h 6857996"/>
              <a:gd name="connsiteX142" fmla="*/ 2660931 w 12191993"/>
              <a:gd name="connsiteY142" fmla="*/ 6367862 h 6857996"/>
              <a:gd name="connsiteX143" fmla="*/ 2748837 w 12191993"/>
              <a:gd name="connsiteY143" fmla="*/ 6453801 h 6857996"/>
              <a:gd name="connsiteX144" fmla="*/ 2814356 w 12191993"/>
              <a:gd name="connsiteY144" fmla="*/ 6427535 h 6857996"/>
              <a:gd name="connsiteX145" fmla="*/ 2801703 w 12191993"/>
              <a:gd name="connsiteY145" fmla="*/ 6404507 h 6857996"/>
              <a:gd name="connsiteX146" fmla="*/ 2751101 w 12191993"/>
              <a:gd name="connsiteY146" fmla="*/ 6426561 h 6857996"/>
              <a:gd name="connsiteX147" fmla="*/ 2693040 w 12191993"/>
              <a:gd name="connsiteY147" fmla="*/ 6367536 h 6857996"/>
              <a:gd name="connsiteX148" fmla="*/ 2750128 w 12191993"/>
              <a:gd name="connsiteY148" fmla="*/ 6309162 h 6857996"/>
              <a:gd name="connsiteX149" fmla="*/ 2795541 w 12191993"/>
              <a:gd name="connsiteY149" fmla="*/ 6327973 h 6857996"/>
              <a:gd name="connsiteX150" fmla="*/ 2810461 w 12191993"/>
              <a:gd name="connsiteY150" fmla="*/ 6305919 h 6857996"/>
              <a:gd name="connsiteX151" fmla="*/ 2748837 w 12191993"/>
              <a:gd name="connsiteY151" fmla="*/ 6281922 h 6857996"/>
              <a:gd name="connsiteX152" fmla="*/ 2593020 w 12191993"/>
              <a:gd name="connsiteY152" fmla="*/ 6281922 h 6857996"/>
              <a:gd name="connsiteX153" fmla="*/ 2533661 w 12191993"/>
              <a:gd name="connsiteY153" fmla="*/ 6328619 h 6857996"/>
              <a:gd name="connsiteX154" fmla="*/ 2617996 w 12191993"/>
              <a:gd name="connsiteY154" fmla="*/ 6406130 h 6857996"/>
              <a:gd name="connsiteX155" fmla="*/ 2590747 w 12191993"/>
              <a:gd name="connsiteY155" fmla="*/ 6426561 h 6857996"/>
              <a:gd name="connsiteX156" fmla="*/ 2543718 w 12191993"/>
              <a:gd name="connsiteY156" fmla="*/ 6407425 h 6857996"/>
              <a:gd name="connsiteX157" fmla="*/ 2528466 w 12191993"/>
              <a:gd name="connsiteY157" fmla="*/ 6429803 h 6857996"/>
              <a:gd name="connsiteX158" fmla="*/ 2590747 w 12191993"/>
              <a:gd name="connsiteY158" fmla="*/ 6453801 h 6857996"/>
              <a:gd name="connsiteX159" fmla="*/ 2650106 w 12191993"/>
              <a:gd name="connsiteY159" fmla="*/ 6406130 h 6857996"/>
              <a:gd name="connsiteX160" fmla="*/ 2565771 w 12191993"/>
              <a:gd name="connsiteY160" fmla="*/ 6329268 h 6857996"/>
              <a:gd name="connsiteX161" fmla="*/ 2592695 w 12191993"/>
              <a:gd name="connsiteY161" fmla="*/ 6309162 h 6857996"/>
              <a:gd name="connsiteX162" fmla="*/ 2633239 w 12191993"/>
              <a:gd name="connsiteY162" fmla="*/ 6323757 h 6857996"/>
              <a:gd name="connsiteX163" fmla="*/ 2645885 w 12191993"/>
              <a:gd name="connsiteY163" fmla="*/ 6300081 h 6857996"/>
              <a:gd name="connsiteX164" fmla="*/ 2593020 w 12191993"/>
              <a:gd name="connsiteY164" fmla="*/ 6281922 h 6857996"/>
              <a:gd name="connsiteX165" fmla="*/ 1223619 w 12191993"/>
              <a:gd name="connsiteY165" fmla="*/ 6235871 h 6857996"/>
              <a:gd name="connsiteX166" fmla="*/ 1278761 w 12191993"/>
              <a:gd name="connsiteY166" fmla="*/ 6235871 h 6857996"/>
              <a:gd name="connsiteX167" fmla="*/ 1379638 w 12191993"/>
              <a:gd name="connsiteY167" fmla="*/ 6336406 h 6857996"/>
              <a:gd name="connsiteX168" fmla="*/ 1278761 w 12191993"/>
              <a:gd name="connsiteY168" fmla="*/ 6436937 h 6857996"/>
              <a:gd name="connsiteX169" fmla="*/ 1223619 w 12191993"/>
              <a:gd name="connsiteY169" fmla="*/ 6436937 h 6857996"/>
              <a:gd name="connsiteX170" fmla="*/ 2147812 w 12191993"/>
              <a:gd name="connsiteY170" fmla="*/ 6222898 h 6857996"/>
              <a:gd name="connsiteX171" fmla="*/ 2147812 w 12191993"/>
              <a:gd name="connsiteY171" fmla="*/ 6449909 h 6857996"/>
              <a:gd name="connsiteX172" fmla="*/ 2161440 w 12191993"/>
              <a:gd name="connsiteY172" fmla="*/ 6449909 h 6857996"/>
              <a:gd name="connsiteX173" fmla="*/ 2161440 w 12191993"/>
              <a:gd name="connsiteY173" fmla="*/ 6431426 h 6857996"/>
              <a:gd name="connsiteX174" fmla="*/ 2160141 w 12191993"/>
              <a:gd name="connsiteY174" fmla="*/ 6417155 h 6857996"/>
              <a:gd name="connsiteX175" fmla="*/ 2160791 w 12191993"/>
              <a:gd name="connsiteY175" fmla="*/ 6417155 h 6857996"/>
              <a:gd name="connsiteX176" fmla="*/ 2216903 w 12191993"/>
              <a:gd name="connsiteY176" fmla="*/ 6453801 h 6857996"/>
              <a:gd name="connsiteX177" fmla="*/ 2289558 w 12191993"/>
              <a:gd name="connsiteY177" fmla="*/ 6368835 h 6857996"/>
              <a:gd name="connsiteX178" fmla="*/ 2219501 w 12191993"/>
              <a:gd name="connsiteY178" fmla="*/ 6283866 h 6857996"/>
              <a:gd name="connsiteX179" fmla="*/ 2160791 w 12191993"/>
              <a:gd name="connsiteY179" fmla="*/ 6320511 h 6857996"/>
              <a:gd name="connsiteX180" fmla="*/ 2160141 w 12191993"/>
              <a:gd name="connsiteY180" fmla="*/ 6320511 h 6857996"/>
              <a:gd name="connsiteX181" fmla="*/ 2161440 w 12191993"/>
              <a:gd name="connsiteY181" fmla="*/ 6307218 h 6857996"/>
              <a:gd name="connsiteX182" fmla="*/ 2161440 w 12191993"/>
              <a:gd name="connsiteY182" fmla="*/ 6222898 h 6857996"/>
              <a:gd name="connsiteX183" fmla="*/ 1525168 w 12191993"/>
              <a:gd name="connsiteY183" fmla="*/ 6222898 h 6857996"/>
              <a:gd name="connsiteX184" fmla="*/ 1525168 w 12191993"/>
              <a:gd name="connsiteY184" fmla="*/ 6246571 h 6857996"/>
              <a:gd name="connsiteX185" fmla="*/ 1541386 w 12191993"/>
              <a:gd name="connsiteY185" fmla="*/ 6246571 h 6857996"/>
              <a:gd name="connsiteX186" fmla="*/ 1541386 w 12191993"/>
              <a:gd name="connsiteY186" fmla="*/ 6222898 h 6857996"/>
              <a:gd name="connsiteX187" fmla="*/ 1209670 w 12191993"/>
              <a:gd name="connsiteY187" fmla="*/ 6222898 h 6857996"/>
              <a:gd name="connsiteX188" fmla="*/ 1209670 w 12191993"/>
              <a:gd name="connsiteY188" fmla="*/ 6449909 h 6857996"/>
              <a:gd name="connsiteX189" fmla="*/ 1281034 w 12191993"/>
              <a:gd name="connsiteY189" fmla="*/ 6449909 h 6857996"/>
              <a:gd name="connsiteX190" fmla="*/ 1394232 w 12191993"/>
              <a:gd name="connsiteY190" fmla="*/ 6336406 h 6857996"/>
              <a:gd name="connsiteX191" fmla="*/ 1281034 w 12191993"/>
              <a:gd name="connsiteY191" fmla="*/ 6222898 h 6857996"/>
              <a:gd name="connsiteX192" fmla="*/ 2833551 w 12191993"/>
              <a:gd name="connsiteY192" fmla="*/ 6220951 h 6857996"/>
              <a:gd name="connsiteX193" fmla="*/ 2833551 w 12191993"/>
              <a:gd name="connsiteY193" fmla="*/ 6253060 h 6857996"/>
              <a:gd name="connsiteX194" fmla="*/ 2865337 w 12191993"/>
              <a:gd name="connsiteY194" fmla="*/ 6253060 h 6857996"/>
              <a:gd name="connsiteX195" fmla="*/ 2865337 w 12191993"/>
              <a:gd name="connsiteY195" fmla="*/ 6220951 h 6857996"/>
              <a:gd name="connsiteX196" fmla="*/ 982628 w 12191993"/>
              <a:gd name="connsiteY196" fmla="*/ 6207360 h 6857996"/>
              <a:gd name="connsiteX197" fmla="*/ 740053 w 12191993"/>
              <a:gd name="connsiteY197" fmla="*/ 6449905 h 6857996"/>
              <a:gd name="connsiteX198" fmla="*/ 982628 w 12191993"/>
              <a:gd name="connsiteY198" fmla="*/ 6449909 h 6857996"/>
              <a:gd name="connsiteX199" fmla="*/ 407989 w 12191993"/>
              <a:gd name="connsiteY199" fmla="*/ 6207356 h 6857996"/>
              <a:gd name="connsiteX200" fmla="*/ 407989 w 12191993"/>
              <a:gd name="connsiteY200" fmla="*/ 6449905 h 6857996"/>
              <a:gd name="connsiteX201" fmla="*/ 650564 w 12191993"/>
              <a:gd name="connsiteY201" fmla="*/ 6449905 h 6857996"/>
              <a:gd name="connsiteX202" fmla="*/ 407989 w 12191993"/>
              <a:gd name="connsiteY202" fmla="*/ 6207356 h 6857996"/>
              <a:gd name="connsiteX203" fmla="*/ 883619 w 12191993"/>
              <a:gd name="connsiteY203" fmla="*/ 6147250 h 6857996"/>
              <a:gd name="connsiteX204" fmla="*/ 915428 w 12191993"/>
              <a:gd name="connsiteY204" fmla="*/ 6147250 h 6857996"/>
              <a:gd name="connsiteX205" fmla="*/ 915428 w 12191993"/>
              <a:gd name="connsiteY205" fmla="*/ 6178023 h 6857996"/>
              <a:gd name="connsiteX206" fmla="*/ 883619 w 12191993"/>
              <a:gd name="connsiteY206" fmla="*/ 6178023 h 6857996"/>
              <a:gd name="connsiteX207" fmla="*/ 739956 w 12191993"/>
              <a:gd name="connsiteY207" fmla="*/ 6106213 h 6857996"/>
              <a:gd name="connsiteX208" fmla="*/ 739956 w 12191993"/>
              <a:gd name="connsiteY208" fmla="*/ 6219065 h 6857996"/>
              <a:gd name="connsiteX209" fmla="*/ 830261 w 12191993"/>
              <a:gd name="connsiteY209" fmla="*/ 6219065 h 6857996"/>
              <a:gd name="connsiteX210" fmla="*/ 830261 w 12191993"/>
              <a:gd name="connsiteY210" fmla="*/ 6178031 h 6857996"/>
              <a:gd name="connsiteX211" fmla="*/ 781009 w 12191993"/>
              <a:gd name="connsiteY211" fmla="*/ 6178031 h 6857996"/>
              <a:gd name="connsiteX212" fmla="*/ 781009 w 12191993"/>
              <a:gd name="connsiteY212" fmla="*/ 6147251 h 6857996"/>
              <a:gd name="connsiteX213" fmla="*/ 830261 w 12191993"/>
              <a:gd name="connsiteY213" fmla="*/ 6147251 h 6857996"/>
              <a:gd name="connsiteX214" fmla="*/ 830261 w 12191993"/>
              <a:gd name="connsiteY214" fmla="*/ 6106213 h 6857996"/>
              <a:gd name="connsiteX215" fmla="*/ 3802396 w 12191993"/>
              <a:gd name="connsiteY215" fmla="*/ 6068975 h 6857996"/>
              <a:gd name="connsiteX216" fmla="*/ 3802396 w 12191993"/>
              <a:gd name="connsiteY216" fmla="*/ 6102379 h 6857996"/>
              <a:gd name="connsiteX217" fmla="*/ 3835481 w 12191993"/>
              <a:gd name="connsiteY217" fmla="*/ 6102379 h 6857996"/>
              <a:gd name="connsiteX218" fmla="*/ 3835481 w 12191993"/>
              <a:gd name="connsiteY218" fmla="*/ 6068975 h 6857996"/>
              <a:gd name="connsiteX219" fmla="*/ 842572 w 12191993"/>
              <a:gd name="connsiteY219" fmla="*/ 6042596 h 6857996"/>
              <a:gd name="connsiteX220" fmla="*/ 842572 w 12191993"/>
              <a:gd name="connsiteY220" fmla="*/ 6219054 h 6857996"/>
              <a:gd name="connsiteX221" fmla="*/ 953399 w 12191993"/>
              <a:gd name="connsiteY221" fmla="*/ 6219054 h 6857996"/>
              <a:gd name="connsiteX222" fmla="*/ 953399 w 12191993"/>
              <a:gd name="connsiteY222" fmla="*/ 6106202 h 6857996"/>
              <a:gd name="connsiteX223" fmla="*/ 883619 w 12191993"/>
              <a:gd name="connsiteY223" fmla="*/ 6106202 h 6857996"/>
              <a:gd name="connsiteX224" fmla="*/ 883619 w 12191993"/>
              <a:gd name="connsiteY224" fmla="*/ 6042596 h 6857996"/>
              <a:gd name="connsiteX225" fmla="*/ 2979149 w 12191993"/>
              <a:gd name="connsiteY225" fmla="*/ 6023573 h 6857996"/>
              <a:gd name="connsiteX226" fmla="*/ 2987258 w 12191993"/>
              <a:gd name="connsiteY226" fmla="*/ 6023573 h 6857996"/>
              <a:gd name="connsiteX227" fmla="*/ 2987258 w 12191993"/>
              <a:gd name="connsiteY227" fmla="*/ 6028762 h 6857996"/>
              <a:gd name="connsiteX228" fmla="*/ 2943468 w 12191993"/>
              <a:gd name="connsiteY228" fmla="*/ 6080974 h 6857996"/>
              <a:gd name="connsiteX229" fmla="*/ 2912656 w 12191993"/>
              <a:gd name="connsiteY229" fmla="*/ 6054708 h 6857996"/>
              <a:gd name="connsiteX230" fmla="*/ 2979149 w 12191993"/>
              <a:gd name="connsiteY230" fmla="*/ 6023573 h 6857996"/>
              <a:gd name="connsiteX231" fmla="*/ 2790699 w 12191993"/>
              <a:gd name="connsiteY231" fmla="*/ 5961955 h 6857996"/>
              <a:gd name="connsiteX232" fmla="*/ 2837087 w 12191993"/>
              <a:gd name="connsiteY232" fmla="*/ 6020654 h 6857996"/>
              <a:gd name="connsiteX233" fmla="*/ 2789732 w 12191993"/>
              <a:gd name="connsiteY233" fmla="*/ 6079354 h 6857996"/>
              <a:gd name="connsiteX234" fmla="*/ 2743344 w 12191993"/>
              <a:gd name="connsiteY234" fmla="*/ 6020979 h 6857996"/>
              <a:gd name="connsiteX235" fmla="*/ 2790699 w 12191993"/>
              <a:gd name="connsiteY235" fmla="*/ 5961955 h 6857996"/>
              <a:gd name="connsiteX236" fmla="*/ 3285066 w 12191993"/>
              <a:gd name="connsiteY236" fmla="*/ 5959362 h 6857996"/>
              <a:gd name="connsiteX237" fmla="*/ 3324644 w 12191993"/>
              <a:gd name="connsiteY237" fmla="*/ 6001198 h 6857996"/>
              <a:gd name="connsiteX238" fmla="*/ 3237062 w 12191993"/>
              <a:gd name="connsiteY238" fmla="*/ 6001198 h 6857996"/>
              <a:gd name="connsiteX239" fmla="*/ 3285066 w 12191993"/>
              <a:gd name="connsiteY239" fmla="*/ 5959362 h 6857996"/>
              <a:gd name="connsiteX240" fmla="*/ 2389939 w 12191993"/>
              <a:gd name="connsiteY240" fmla="*/ 5949632 h 6857996"/>
              <a:gd name="connsiteX241" fmla="*/ 2446377 w 12191993"/>
              <a:gd name="connsiteY241" fmla="*/ 6021305 h 6857996"/>
              <a:gd name="connsiteX242" fmla="*/ 2388641 w 12191993"/>
              <a:gd name="connsiteY242" fmla="*/ 6092976 h 6857996"/>
              <a:gd name="connsiteX243" fmla="*/ 2332204 w 12191993"/>
              <a:gd name="connsiteY243" fmla="*/ 6021629 h 6857996"/>
              <a:gd name="connsiteX244" fmla="*/ 2389939 w 12191993"/>
              <a:gd name="connsiteY244" fmla="*/ 5949632 h 6857996"/>
              <a:gd name="connsiteX245" fmla="*/ 2115219 w 12191993"/>
              <a:gd name="connsiteY245" fmla="*/ 5949632 h 6857996"/>
              <a:gd name="connsiteX246" fmla="*/ 2171660 w 12191993"/>
              <a:gd name="connsiteY246" fmla="*/ 6020980 h 6857996"/>
              <a:gd name="connsiteX247" fmla="*/ 2113920 w 12191993"/>
              <a:gd name="connsiteY247" fmla="*/ 6092976 h 6857996"/>
              <a:gd name="connsiteX248" fmla="*/ 2057481 w 12191993"/>
              <a:gd name="connsiteY248" fmla="*/ 6021305 h 6857996"/>
              <a:gd name="connsiteX249" fmla="*/ 2115219 w 12191993"/>
              <a:gd name="connsiteY249" fmla="*/ 5949632 h 6857996"/>
              <a:gd name="connsiteX250" fmla="*/ 1641577 w 12191993"/>
              <a:gd name="connsiteY250" fmla="*/ 5949632 h 6857996"/>
              <a:gd name="connsiteX251" fmla="*/ 1698014 w 12191993"/>
              <a:gd name="connsiteY251" fmla="*/ 6021304 h 6857996"/>
              <a:gd name="connsiteX252" fmla="*/ 1640278 w 12191993"/>
              <a:gd name="connsiteY252" fmla="*/ 6092976 h 6857996"/>
              <a:gd name="connsiteX253" fmla="*/ 1583842 w 12191993"/>
              <a:gd name="connsiteY253" fmla="*/ 6021628 h 6857996"/>
              <a:gd name="connsiteX254" fmla="*/ 1641577 w 12191993"/>
              <a:gd name="connsiteY254" fmla="*/ 5949632 h 6857996"/>
              <a:gd name="connsiteX255" fmla="*/ 1954957 w 12191993"/>
              <a:gd name="connsiteY255" fmla="*/ 5948983 h 6857996"/>
              <a:gd name="connsiteX256" fmla="*/ 2007177 w 12191993"/>
              <a:gd name="connsiteY256" fmla="*/ 6006384 h 6857996"/>
              <a:gd name="connsiteX257" fmla="*/ 1891706 w 12191993"/>
              <a:gd name="connsiteY257" fmla="*/ 6006384 h 6857996"/>
              <a:gd name="connsiteX258" fmla="*/ 1954957 w 12191993"/>
              <a:gd name="connsiteY258" fmla="*/ 5948983 h 6857996"/>
              <a:gd name="connsiteX259" fmla="*/ 2464407 w 12191993"/>
              <a:gd name="connsiteY259" fmla="*/ 5940226 h 6857996"/>
              <a:gd name="connsiteX260" fmla="*/ 2531550 w 12191993"/>
              <a:gd name="connsiteY260" fmla="*/ 6101405 h 6857996"/>
              <a:gd name="connsiteX261" fmla="*/ 2519870 w 12191993"/>
              <a:gd name="connsiteY261" fmla="*/ 6128324 h 6857996"/>
              <a:gd name="connsiteX262" fmla="*/ 2488084 w 12191993"/>
              <a:gd name="connsiteY262" fmla="*/ 6157511 h 6857996"/>
              <a:gd name="connsiteX263" fmla="*/ 2467970 w 12191993"/>
              <a:gd name="connsiteY263" fmla="*/ 6149728 h 6857996"/>
              <a:gd name="connsiteX264" fmla="*/ 2461809 w 12191993"/>
              <a:gd name="connsiteY264" fmla="*/ 6161402 h 6857996"/>
              <a:gd name="connsiteX265" fmla="*/ 2488084 w 12191993"/>
              <a:gd name="connsiteY265" fmla="*/ 6170485 h 6857996"/>
              <a:gd name="connsiteX266" fmla="*/ 2529277 w 12191993"/>
              <a:gd name="connsiteY266" fmla="*/ 6140322 h 6857996"/>
              <a:gd name="connsiteX267" fmla="*/ 2612638 w 12191993"/>
              <a:gd name="connsiteY267" fmla="*/ 5940226 h 6857996"/>
              <a:gd name="connsiteX268" fmla="*/ 2598044 w 12191993"/>
              <a:gd name="connsiteY268" fmla="*/ 5940226 h 6857996"/>
              <a:gd name="connsiteX269" fmla="*/ 2544521 w 12191993"/>
              <a:gd name="connsiteY269" fmla="*/ 6069624 h 6857996"/>
              <a:gd name="connsiteX270" fmla="*/ 2539009 w 12191993"/>
              <a:gd name="connsiteY270" fmla="*/ 6084865 h 6857996"/>
              <a:gd name="connsiteX271" fmla="*/ 2538360 w 12191993"/>
              <a:gd name="connsiteY271" fmla="*/ 6084865 h 6857996"/>
              <a:gd name="connsiteX272" fmla="*/ 2532516 w 12191993"/>
              <a:gd name="connsiteY272" fmla="*/ 6069624 h 6857996"/>
              <a:gd name="connsiteX273" fmla="*/ 2479001 w 12191993"/>
              <a:gd name="connsiteY273" fmla="*/ 5940226 h 6857996"/>
              <a:gd name="connsiteX274" fmla="*/ 1744846 w 12191993"/>
              <a:gd name="connsiteY274" fmla="*/ 5940226 h 6857996"/>
              <a:gd name="connsiteX275" fmla="*/ 1744846 w 12191993"/>
              <a:gd name="connsiteY275" fmla="*/ 6102378 h 6857996"/>
              <a:gd name="connsiteX276" fmla="*/ 1758470 w 12191993"/>
              <a:gd name="connsiteY276" fmla="*/ 6102378 h 6857996"/>
              <a:gd name="connsiteX277" fmla="*/ 1758470 w 12191993"/>
              <a:gd name="connsiteY277" fmla="*/ 5940226 h 6857996"/>
              <a:gd name="connsiteX278" fmla="*/ 1864854 w 12191993"/>
              <a:gd name="connsiteY278" fmla="*/ 5938932 h 6857996"/>
              <a:gd name="connsiteX279" fmla="*/ 1812955 w 12191993"/>
              <a:gd name="connsiteY279" fmla="*/ 5984334 h 6857996"/>
              <a:gd name="connsiteX280" fmla="*/ 1812306 w 12191993"/>
              <a:gd name="connsiteY280" fmla="*/ 5984334 h 6857996"/>
              <a:gd name="connsiteX281" fmla="*/ 1813604 w 12191993"/>
              <a:gd name="connsiteY281" fmla="*/ 5971037 h 6857996"/>
              <a:gd name="connsiteX282" fmla="*/ 1813604 w 12191993"/>
              <a:gd name="connsiteY282" fmla="*/ 5940226 h 6857996"/>
              <a:gd name="connsiteX283" fmla="*/ 1799984 w 12191993"/>
              <a:gd name="connsiteY283" fmla="*/ 5940226 h 6857996"/>
              <a:gd name="connsiteX284" fmla="*/ 1799984 w 12191993"/>
              <a:gd name="connsiteY284" fmla="*/ 6102378 h 6857996"/>
              <a:gd name="connsiteX285" fmla="*/ 1813604 w 12191993"/>
              <a:gd name="connsiteY285" fmla="*/ 6102378 h 6857996"/>
              <a:gd name="connsiteX286" fmla="*/ 1813604 w 12191993"/>
              <a:gd name="connsiteY286" fmla="*/ 6032329 h 6857996"/>
              <a:gd name="connsiteX287" fmla="*/ 1818470 w 12191993"/>
              <a:gd name="connsiteY287" fmla="*/ 5998276 h 6857996"/>
              <a:gd name="connsiteX288" fmla="*/ 1866802 w 12191993"/>
              <a:gd name="connsiteY288" fmla="*/ 5952874 h 6857996"/>
              <a:gd name="connsiteX289" fmla="*/ 1874262 w 12191993"/>
              <a:gd name="connsiteY289" fmla="*/ 5953523 h 6857996"/>
              <a:gd name="connsiteX290" fmla="*/ 1874262 w 12191993"/>
              <a:gd name="connsiteY290" fmla="*/ 5939902 h 6857996"/>
              <a:gd name="connsiteX291" fmla="*/ 1864854 w 12191993"/>
              <a:gd name="connsiteY291" fmla="*/ 5938932 h 6857996"/>
              <a:gd name="connsiteX292" fmla="*/ 3147319 w 12191993"/>
              <a:gd name="connsiteY292" fmla="*/ 5938282 h 6857996"/>
              <a:gd name="connsiteX293" fmla="*/ 3147319 w 12191993"/>
              <a:gd name="connsiteY293" fmla="*/ 6102378 h 6857996"/>
              <a:gd name="connsiteX294" fmla="*/ 3178780 w 12191993"/>
              <a:gd name="connsiteY294" fmla="*/ 6102378 h 6857996"/>
              <a:gd name="connsiteX295" fmla="*/ 3178780 w 12191993"/>
              <a:gd name="connsiteY295" fmla="*/ 5938282 h 6857996"/>
              <a:gd name="connsiteX296" fmla="*/ 1955281 w 12191993"/>
              <a:gd name="connsiteY296" fmla="*/ 5936335 h 6857996"/>
              <a:gd name="connsiteX297" fmla="*/ 1876463 w 12191993"/>
              <a:gd name="connsiteY297" fmla="*/ 6021629 h 6857996"/>
              <a:gd name="connsiteX298" fmla="*/ 1960147 w 12191993"/>
              <a:gd name="connsiteY298" fmla="*/ 6106269 h 6857996"/>
              <a:gd name="connsiteX299" fmla="*/ 2017884 w 12191993"/>
              <a:gd name="connsiteY299" fmla="*/ 6083895 h 6857996"/>
              <a:gd name="connsiteX300" fmla="*/ 2010424 w 12191993"/>
              <a:gd name="connsiteY300" fmla="*/ 6072541 h 6857996"/>
              <a:gd name="connsiteX301" fmla="*/ 1960147 w 12191993"/>
              <a:gd name="connsiteY301" fmla="*/ 6092976 h 6857996"/>
              <a:gd name="connsiteX302" fmla="*/ 1890731 w 12191993"/>
              <a:gd name="connsiteY302" fmla="*/ 6019031 h 6857996"/>
              <a:gd name="connsiteX303" fmla="*/ 2020802 w 12191993"/>
              <a:gd name="connsiteY303" fmla="*/ 6019031 h 6857996"/>
              <a:gd name="connsiteX304" fmla="*/ 2021451 w 12191993"/>
              <a:gd name="connsiteY304" fmla="*/ 6010275 h 6857996"/>
              <a:gd name="connsiteX305" fmla="*/ 1955281 w 12191993"/>
              <a:gd name="connsiteY305" fmla="*/ 5936335 h 6857996"/>
              <a:gd name="connsiteX306" fmla="*/ 1642226 w 12191993"/>
              <a:gd name="connsiteY306" fmla="*/ 5936335 h 6857996"/>
              <a:gd name="connsiteX307" fmla="*/ 1583842 w 12191993"/>
              <a:gd name="connsiteY307" fmla="*/ 5972656 h 6857996"/>
              <a:gd name="connsiteX308" fmla="*/ 1583192 w 12191993"/>
              <a:gd name="connsiteY308" fmla="*/ 5972655 h 6857996"/>
              <a:gd name="connsiteX309" fmla="*/ 1584166 w 12191993"/>
              <a:gd name="connsiteY309" fmla="*/ 5959687 h 6857996"/>
              <a:gd name="connsiteX310" fmla="*/ 1584166 w 12191993"/>
              <a:gd name="connsiteY310" fmla="*/ 5940226 h 6857996"/>
              <a:gd name="connsiteX311" fmla="*/ 1570538 w 12191993"/>
              <a:gd name="connsiteY311" fmla="*/ 5940226 h 6857996"/>
              <a:gd name="connsiteX312" fmla="*/ 1570538 w 12191993"/>
              <a:gd name="connsiteY312" fmla="*/ 6167243 h 6857996"/>
              <a:gd name="connsiteX313" fmla="*/ 1584166 w 12191993"/>
              <a:gd name="connsiteY313" fmla="*/ 6167243 h 6857996"/>
              <a:gd name="connsiteX314" fmla="*/ 1584166 w 12191993"/>
              <a:gd name="connsiteY314" fmla="*/ 6083895 h 6857996"/>
              <a:gd name="connsiteX315" fmla="*/ 1582867 w 12191993"/>
              <a:gd name="connsiteY315" fmla="*/ 6069624 h 6857996"/>
              <a:gd name="connsiteX316" fmla="*/ 1583517 w 12191993"/>
              <a:gd name="connsiteY316" fmla="*/ 6069624 h 6857996"/>
              <a:gd name="connsiteX317" fmla="*/ 1640279 w 12191993"/>
              <a:gd name="connsiteY317" fmla="*/ 6106269 h 6857996"/>
              <a:gd name="connsiteX318" fmla="*/ 1712284 w 12191993"/>
              <a:gd name="connsiteY318" fmla="*/ 6021304 h 6857996"/>
              <a:gd name="connsiteX319" fmla="*/ 1642226 w 12191993"/>
              <a:gd name="connsiteY319" fmla="*/ 5936335 h 6857996"/>
              <a:gd name="connsiteX320" fmla="*/ 1489846 w 12191993"/>
              <a:gd name="connsiteY320" fmla="*/ 5936335 h 6857996"/>
              <a:gd name="connsiteX321" fmla="*/ 1437951 w 12191993"/>
              <a:gd name="connsiteY321" fmla="*/ 5980118 h 6857996"/>
              <a:gd name="connsiteX322" fmla="*/ 1527151 w 12191993"/>
              <a:gd name="connsiteY322" fmla="*/ 6062490 h 6857996"/>
              <a:gd name="connsiteX323" fmla="*/ 1489846 w 12191993"/>
              <a:gd name="connsiteY323" fmla="*/ 6092977 h 6857996"/>
              <a:gd name="connsiteX324" fmla="*/ 1439570 w 12191993"/>
              <a:gd name="connsiteY324" fmla="*/ 6072541 h 6857996"/>
              <a:gd name="connsiteX325" fmla="*/ 1430812 w 12191993"/>
              <a:gd name="connsiteY325" fmla="*/ 6082921 h 6857996"/>
              <a:gd name="connsiteX326" fmla="*/ 1489522 w 12191993"/>
              <a:gd name="connsiteY326" fmla="*/ 6106269 h 6857996"/>
              <a:gd name="connsiteX327" fmla="*/ 1541421 w 12191993"/>
              <a:gd name="connsiteY327" fmla="*/ 6062490 h 6857996"/>
              <a:gd name="connsiteX328" fmla="*/ 1452224 w 12191993"/>
              <a:gd name="connsiteY328" fmla="*/ 5979144 h 6857996"/>
              <a:gd name="connsiteX329" fmla="*/ 1488872 w 12191993"/>
              <a:gd name="connsiteY329" fmla="*/ 5949632 h 6857996"/>
              <a:gd name="connsiteX330" fmla="*/ 1529741 w 12191993"/>
              <a:gd name="connsiteY330" fmla="*/ 5964873 h 6857996"/>
              <a:gd name="connsiteX331" fmla="*/ 1537850 w 12191993"/>
              <a:gd name="connsiteY331" fmla="*/ 5953848 h 6857996"/>
              <a:gd name="connsiteX332" fmla="*/ 1489846 w 12191993"/>
              <a:gd name="connsiteY332" fmla="*/ 5936335 h 6857996"/>
              <a:gd name="connsiteX333" fmla="*/ 1352909 w 12191993"/>
              <a:gd name="connsiteY333" fmla="*/ 5936335 h 6857996"/>
              <a:gd name="connsiteX334" fmla="*/ 1284142 w 12191993"/>
              <a:gd name="connsiteY334" fmla="*/ 5982062 h 6857996"/>
              <a:gd name="connsiteX335" fmla="*/ 1283493 w 12191993"/>
              <a:gd name="connsiteY335" fmla="*/ 5982062 h 6857996"/>
              <a:gd name="connsiteX336" fmla="*/ 1284791 w 12191993"/>
              <a:gd name="connsiteY336" fmla="*/ 5968765 h 6857996"/>
              <a:gd name="connsiteX337" fmla="*/ 1284791 w 12191993"/>
              <a:gd name="connsiteY337" fmla="*/ 5940226 h 6857996"/>
              <a:gd name="connsiteX338" fmla="*/ 1271171 w 12191993"/>
              <a:gd name="connsiteY338" fmla="*/ 5940226 h 6857996"/>
              <a:gd name="connsiteX339" fmla="*/ 1271171 w 12191993"/>
              <a:gd name="connsiteY339" fmla="*/ 6102378 h 6857996"/>
              <a:gd name="connsiteX340" fmla="*/ 1284791 w 12191993"/>
              <a:gd name="connsiteY340" fmla="*/ 6102378 h 6857996"/>
              <a:gd name="connsiteX341" fmla="*/ 1284791 w 12191993"/>
              <a:gd name="connsiteY341" fmla="*/ 6023248 h 6857996"/>
              <a:gd name="connsiteX342" fmla="*/ 1287389 w 12191993"/>
              <a:gd name="connsiteY342" fmla="*/ 6001199 h 6857996"/>
              <a:gd name="connsiteX343" fmla="*/ 1352909 w 12191993"/>
              <a:gd name="connsiteY343" fmla="*/ 5949632 h 6857996"/>
              <a:gd name="connsiteX344" fmla="*/ 1392802 w 12191993"/>
              <a:gd name="connsiteY344" fmla="*/ 6004440 h 6857996"/>
              <a:gd name="connsiteX345" fmla="*/ 1392802 w 12191993"/>
              <a:gd name="connsiteY345" fmla="*/ 6102379 h 6857996"/>
              <a:gd name="connsiteX346" fmla="*/ 1406426 w 12191993"/>
              <a:gd name="connsiteY346" fmla="*/ 6102379 h 6857996"/>
              <a:gd name="connsiteX347" fmla="*/ 1406426 w 12191993"/>
              <a:gd name="connsiteY347" fmla="*/ 5999575 h 6857996"/>
              <a:gd name="connsiteX348" fmla="*/ 1352909 w 12191993"/>
              <a:gd name="connsiteY348" fmla="*/ 5936335 h 6857996"/>
              <a:gd name="connsiteX349" fmla="*/ 3474783 w 12191993"/>
              <a:gd name="connsiteY349" fmla="*/ 5934392 h 6857996"/>
              <a:gd name="connsiteX350" fmla="*/ 3413151 w 12191993"/>
              <a:gd name="connsiteY350" fmla="*/ 5972011 h 6857996"/>
              <a:gd name="connsiteX351" fmla="*/ 3412502 w 12191993"/>
              <a:gd name="connsiteY351" fmla="*/ 5972011 h 6857996"/>
              <a:gd name="connsiteX352" fmla="*/ 3413151 w 12191993"/>
              <a:gd name="connsiteY352" fmla="*/ 5960012 h 6857996"/>
              <a:gd name="connsiteX353" fmla="*/ 3413151 w 12191993"/>
              <a:gd name="connsiteY353" fmla="*/ 5938282 h 6857996"/>
              <a:gd name="connsiteX354" fmla="*/ 3382664 w 12191993"/>
              <a:gd name="connsiteY354" fmla="*/ 5938282 h 6857996"/>
              <a:gd name="connsiteX355" fmla="*/ 3382664 w 12191993"/>
              <a:gd name="connsiteY355" fmla="*/ 6102378 h 6857996"/>
              <a:gd name="connsiteX356" fmla="*/ 3414125 w 12191993"/>
              <a:gd name="connsiteY356" fmla="*/ 6102378 h 6857996"/>
              <a:gd name="connsiteX357" fmla="*/ 3414125 w 12191993"/>
              <a:gd name="connsiteY357" fmla="*/ 6025520 h 6857996"/>
              <a:gd name="connsiteX358" fmla="*/ 3416723 w 12191993"/>
              <a:gd name="connsiteY358" fmla="*/ 6003466 h 6857996"/>
              <a:gd name="connsiteX359" fmla="*/ 3468615 w 12191993"/>
              <a:gd name="connsiteY359" fmla="*/ 5963254 h 6857996"/>
              <a:gd name="connsiteX360" fmla="*/ 3499759 w 12191993"/>
              <a:gd name="connsiteY360" fmla="*/ 6004440 h 6857996"/>
              <a:gd name="connsiteX361" fmla="*/ 3499759 w 12191993"/>
              <a:gd name="connsiteY361" fmla="*/ 6102378 h 6857996"/>
              <a:gd name="connsiteX362" fmla="*/ 3531220 w 12191993"/>
              <a:gd name="connsiteY362" fmla="*/ 6102378 h 6857996"/>
              <a:gd name="connsiteX363" fmla="*/ 3531220 w 12191993"/>
              <a:gd name="connsiteY363" fmla="*/ 5997307 h 6857996"/>
              <a:gd name="connsiteX364" fmla="*/ 3474783 w 12191993"/>
              <a:gd name="connsiteY364" fmla="*/ 5934392 h 6857996"/>
              <a:gd name="connsiteX365" fmla="*/ 3717650 w 12191993"/>
              <a:gd name="connsiteY365" fmla="*/ 5934391 h 6857996"/>
              <a:gd name="connsiteX366" fmla="*/ 3658292 w 12191993"/>
              <a:gd name="connsiteY366" fmla="*/ 5981088 h 6857996"/>
              <a:gd name="connsiteX367" fmla="*/ 3742624 w 12191993"/>
              <a:gd name="connsiteY367" fmla="*/ 6058599 h 6857996"/>
              <a:gd name="connsiteX368" fmla="*/ 3715378 w 12191993"/>
              <a:gd name="connsiteY368" fmla="*/ 6079030 h 6857996"/>
              <a:gd name="connsiteX369" fmla="*/ 3668348 w 12191993"/>
              <a:gd name="connsiteY369" fmla="*/ 6059893 h 6857996"/>
              <a:gd name="connsiteX370" fmla="*/ 3653097 w 12191993"/>
              <a:gd name="connsiteY370" fmla="*/ 6082272 h 6857996"/>
              <a:gd name="connsiteX371" fmla="*/ 3715378 w 12191993"/>
              <a:gd name="connsiteY371" fmla="*/ 6106270 h 6857996"/>
              <a:gd name="connsiteX372" fmla="*/ 3774736 w 12191993"/>
              <a:gd name="connsiteY372" fmla="*/ 6058599 h 6857996"/>
              <a:gd name="connsiteX373" fmla="*/ 3690402 w 12191993"/>
              <a:gd name="connsiteY373" fmla="*/ 5981737 h 6857996"/>
              <a:gd name="connsiteX374" fmla="*/ 3717325 w 12191993"/>
              <a:gd name="connsiteY374" fmla="*/ 5961631 h 6857996"/>
              <a:gd name="connsiteX375" fmla="*/ 3757869 w 12191993"/>
              <a:gd name="connsiteY375" fmla="*/ 5976226 h 6857996"/>
              <a:gd name="connsiteX376" fmla="*/ 3770514 w 12191993"/>
              <a:gd name="connsiteY376" fmla="*/ 5952550 h 6857996"/>
              <a:gd name="connsiteX377" fmla="*/ 3717650 w 12191993"/>
              <a:gd name="connsiteY377" fmla="*/ 5934391 h 6857996"/>
              <a:gd name="connsiteX378" fmla="*/ 3285715 w 12191993"/>
              <a:gd name="connsiteY378" fmla="*/ 5934391 h 6857996"/>
              <a:gd name="connsiteX379" fmla="*/ 3203653 w 12191993"/>
              <a:gd name="connsiteY379" fmla="*/ 6020331 h 6857996"/>
              <a:gd name="connsiteX380" fmla="*/ 3290585 w 12191993"/>
              <a:gd name="connsiteY380" fmla="*/ 6106270 h 6857996"/>
              <a:gd name="connsiteX381" fmla="*/ 3354158 w 12191993"/>
              <a:gd name="connsiteY381" fmla="*/ 6082921 h 6857996"/>
              <a:gd name="connsiteX382" fmla="*/ 3341187 w 12191993"/>
              <a:gd name="connsiteY382" fmla="*/ 6059893 h 6857996"/>
              <a:gd name="connsiteX383" fmla="*/ 3292526 w 12191993"/>
              <a:gd name="connsiteY383" fmla="*/ 6079030 h 6857996"/>
              <a:gd name="connsiteX384" fmla="*/ 3236088 w 12191993"/>
              <a:gd name="connsiteY384" fmla="*/ 6024871 h 6857996"/>
              <a:gd name="connsiteX385" fmla="*/ 3355781 w 12191993"/>
              <a:gd name="connsiteY385" fmla="*/ 6024871 h 6857996"/>
              <a:gd name="connsiteX386" fmla="*/ 3356754 w 12191993"/>
              <a:gd name="connsiteY386" fmla="*/ 6011249 h 6857996"/>
              <a:gd name="connsiteX387" fmla="*/ 3285715 w 12191993"/>
              <a:gd name="connsiteY387" fmla="*/ 5934391 h 6857996"/>
              <a:gd name="connsiteX388" fmla="*/ 2953524 w 12191993"/>
              <a:gd name="connsiteY388" fmla="*/ 5934391 h 6857996"/>
              <a:gd name="connsiteX389" fmla="*/ 2892217 w 12191993"/>
              <a:gd name="connsiteY389" fmla="*/ 5953848 h 6857996"/>
              <a:gd name="connsiteX390" fmla="*/ 2905189 w 12191993"/>
              <a:gd name="connsiteY390" fmla="*/ 5976872 h 6857996"/>
              <a:gd name="connsiteX391" fmla="*/ 2950927 w 12191993"/>
              <a:gd name="connsiteY391" fmla="*/ 5960982 h 6857996"/>
              <a:gd name="connsiteX392" fmla="*/ 2986934 w 12191993"/>
              <a:gd name="connsiteY392" fmla="*/ 5996982 h 6857996"/>
              <a:gd name="connsiteX393" fmla="*/ 2986934 w 12191993"/>
              <a:gd name="connsiteY393" fmla="*/ 5999900 h 6857996"/>
              <a:gd name="connsiteX394" fmla="*/ 2979791 w 12191993"/>
              <a:gd name="connsiteY394" fmla="*/ 5999900 h 6857996"/>
              <a:gd name="connsiteX395" fmla="*/ 2880862 w 12191993"/>
              <a:gd name="connsiteY395" fmla="*/ 6056327 h 6857996"/>
              <a:gd name="connsiteX396" fmla="*/ 2936658 w 12191993"/>
              <a:gd name="connsiteY396" fmla="*/ 6106270 h 6857996"/>
              <a:gd name="connsiteX397" fmla="*/ 2989199 w 12191993"/>
              <a:gd name="connsiteY397" fmla="*/ 6073840 h 6857996"/>
              <a:gd name="connsiteX398" fmla="*/ 2989847 w 12191993"/>
              <a:gd name="connsiteY398" fmla="*/ 6073840 h 6857996"/>
              <a:gd name="connsiteX399" fmla="*/ 2989199 w 12191993"/>
              <a:gd name="connsiteY399" fmla="*/ 6086813 h 6857996"/>
              <a:gd name="connsiteX400" fmla="*/ 2989199 w 12191993"/>
              <a:gd name="connsiteY400" fmla="*/ 6102379 h 6857996"/>
              <a:gd name="connsiteX401" fmla="*/ 3018394 w 12191993"/>
              <a:gd name="connsiteY401" fmla="*/ 6102379 h 6857996"/>
              <a:gd name="connsiteX402" fmla="*/ 3018394 w 12191993"/>
              <a:gd name="connsiteY402" fmla="*/ 5998601 h 6857996"/>
              <a:gd name="connsiteX403" fmla="*/ 2953524 w 12191993"/>
              <a:gd name="connsiteY403" fmla="*/ 5934391 h 6857996"/>
              <a:gd name="connsiteX404" fmla="*/ 2796867 w 12191993"/>
              <a:gd name="connsiteY404" fmla="*/ 5934391 h 6857996"/>
              <a:gd name="connsiteX405" fmla="*/ 2741721 w 12191993"/>
              <a:gd name="connsiteY405" fmla="*/ 5964227 h 6857996"/>
              <a:gd name="connsiteX406" fmla="*/ 2741072 w 12191993"/>
              <a:gd name="connsiteY406" fmla="*/ 5964227 h 6857996"/>
              <a:gd name="connsiteX407" fmla="*/ 2741721 w 12191993"/>
              <a:gd name="connsiteY407" fmla="*/ 5952224 h 6857996"/>
              <a:gd name="connsiteX408" fmla="*/ 2741721 w 12191993"/>
              <a:gd name="connsiteY408" fmla="*/ 5938282 h 6857996"/>
              <a:gd name="connsiteX409" fmla="*/ 2712857 w 12191993"/>
              <a:gd name="connsiteY409" fmla="*/ 5938282 h 6857996"/>
              <a:gd name="connsiteX410" fmla="*/ 2712857 w 12191993"/>
              <a:gd name="connsiteY410" fmla="*/ 6167243 h 6857996"/>
              <a:gd name="connsiteX411" fmla="*/ 2744318 w 12191993"/>
              <a:gd name="connsiteY411" fmla="*/ 6167243 h 6857996"/>
              <a:gd name="connsiteX412" fmla="*/ 2744318 w 12191993"/>
              <a:gd name="connsiteY412" fmla="*/ 6093620 h 6857996"/>
              <a:gd name="connsiteX413" fmla="*/ 2743669 w 12191993"/>
              <a:gd name="connsiteY413" fmla="*/ 6079354 h 6857996"/>
              <a:gd name="connsiteX414" fmla="*/ 2744318 w 12191993"/>
              <a:gd name="connsiteY414" fmla="*/ 6079354 h 6857996"/>
              <a:gd name="connsiteX415" fmla="*/ 2794595 w 12191993"/>
              <a:gd name="connsiteY415" fmla="*/ 6106269 h 6857996"/>
              <a:gd name="connsiteX416" fmla="*/ 2868873 w 12191993"/>
              <a:gd name="connsiteY416" fmla="*/ 6020330 h 6857996"/>
              <a:gd name="connsiteX417" fmla="*/ 2796867 w 12191993"/>
              <a:gd name="connsiteY417" fmla="*/ 5934391 h 6857996"/>
              <a:gd name="connsiteX418" fmla="*/ 3568802 w 12191993"/>
              <a:gd name="connsiteY418" fmla="*/ 5893205 h 6857996"/>
              <a:gd name="connsiteX419" fmla="*/ 3568802 w 12191993"/>
              <a:gd name="connsiteY419" fmla="*/ 5940551 h 6857996"/>
              <a:gd name="connsiteX420" fmla="*/ 3546424 w 12191993"/>
              <a:gd name="connsiteY420" fmla="*/ 5940551 h 6857996"/>
              <a:gd name="connsiteX421" fmla="*/ 3546424 w 12191993"/>
              <a:gd name="connsiteY421" fmla="*/ 5965847 h 6857996"/>
              <a:gd name="connsiteX422" fmla="*/ 3567829 w 12191993"/>
              <a:gd name="connsiteY422" fmla="*/ 5965847 h 6857996"/>
              <a:gd name="connsiteX423" fmla="*/ 3567829 w 12191993"/>
              <a:gd name="connsiteY423" fmla="*/ 6042385 h 6857996"/>
              <a:gd name="connsiteX424" fmla="*/ 3630758 w 12191993"/>
              <a:gd name="connsiteY424" fmla="*/ 6103676 h 6857996"/>
              <a:gd name="connsiteX425" fmla="*/ 3641789 w 12191993"/>
              <a:gd name="connsiteY425" fmla="*/ 6103027 h 6857996"/>
              <a:gd name="connsiteX426" fmla="*/ 3641789 w 12191993"/>
              <a:gd name="connsiteY426" fmla="*/ 6075138 h 6857996"/>
              <a:gd name="connsiteX427" fmla="*/ 3634322 w 12191993"/>
              <a:gd name="connsiteY427" fmla="*/ 6075788 h 6857996"/>
              <a:gd name="connsiteX428" fmla="*/ 3599298 w 12191993"/>
              <a:gd name="connsiteY428" fmla="*/ 6038817 h 6857996"/>
              <a:gd name="connsiteX429" fmla="*/ 3599298 w 12191993"/>
              <a:gd name="connsiteY429" fmla="*/ 5965847 h 6857996"/>
              <a:gd name="connsiteX430" fmla="*/ 3638867 w 12191993"/>
              <a:gd name="connsiteY430" fmla="*/ 5965847 h 6857996"/>
              <a:gd name="connsiteX431" fmla="*/ 3638867 w 12191993"/>
              <a:gd name="connsiteY431" fmla="*/ 5940551 h 6857996"/>
              <a:gd name="connsiteX432" fmla="*/ 3599298 w 12191993"/>
              <a:gd name="connsiteY432" fmla="*/ 5940551 h 6857996"/>
              <a:gd name="connsiteX433" fmla="*/ 3599298 w 12191993"/>
              <a:gd name="connsiteY433" fmla="*/ 5893205 h 6857996"/>
              <a:gd name="connsiteX434" fmla="*/ 3055985 w 12191993"/>
              <a:gd name="connsiteY434" fmla="*/ 5893205 h 6857996"/>
              <a:gd name="connsiteX435" fmla="*/ 3055985 w 12191993"/>
              <a:gd name="connsiteY435" fmla="*/ 5940551 h 6857996"/>
              <a:gd name="connsiteX436" fmla="*/ 3033606 w 12191993"/>
              <a:gd name="connsiteY436" fmla="*/ 5940551 h 6857996"/>
              <a:gd name="connsiteX437" fmla="*/ 3033606 w 12191993"/>
              <a:gd name="connsiteY437" fmla="*/ 5965847 h 6857996"/>
              <a:gd name="connsiteX438" fmla="*/ 3055012 w 12191993"/>
              <a:gd name="connsiteY438" fmla="*/ 5965847 h 6857996"/>
              <a:gd name="connsiteX439" fmla="*/ 3055012 w 12191993"/>
              <a:gd name="connsiteY439" fmla="*/ 6042385 h 6857996"/>
              <a:gd name="connsiteX440" fmla="*/ 3117934 w 12191993"/>
              <a:gd name="connsiteY440" fmla="*/ 6103676 h 6857996"/>
              <a:gd name="connsiteX441" fmla="*/ 3128964 w 12191993"/>
              <a:gd name="connsiteY441" fmla="*/ 6103027 h 6857996"/>
              <a:gd name="connsiteX442" fmla="*/ 3128964 w 12191993"/>
              <a:gd name="connsiteY442" fmla="*/ 6075138 h 6857996"/>
              <a:gd name="connsiteX443" fmla="*/ 3121505 w 12191993"/>
              <a:gd name="connsiteY443" fmla="*/ 6075788 h 6857996"/>
              <a:gd name="connsiteX444" fmla="*/ 3086473 w 12191993"/>
              <a:gd name="connsiteY444" fmla="*/ 6038817 h 6857996"/>
              <a:gd name="connsiteX445" fmla="*/ 3086473 w 12191993"/>
              <a:gd name="connsiteY445" fmla="*/ 5965847 h 6857996"/>
              <a:gd name="connsiteX446" fmla="*/ 3126043 w 12191993"/>
              <a:gd name="connsiteY446" fmla="*/ 5965847 h 6857996"/>
              <a:gd name="connsiteX447" fmla="*/ 3126043 w 12191993"/>
              <a:gd name="connsiteY447" fmla="*/ 5940551 h 6857996"/>
              <a:gd name="connsiteX448" fmla="*/ 3086473 w 12191993"/>
              <a:gd name="connsiteY448" fmla="*/ 5940551 h 6857996"/>
              <a:gd name="connsiteX449" fmla="*/ 3086473 w 12191993"/>
              <a:gd name="connsiteY449" fmla="*/ 5893205 h 6857996"/>
              <a:gd name="connsiteX450" fmla="*/ 2318901 w 12191993"/>
              <a:gd name="connsiteY450" fmla="*/ 5875367 h 6857996"/>
              <a:gd name="connsiteX451" fmla="*/ 2318901 w 12191993"/>
              <a:gd name="connsiteY451" fmla="*/ 6102378 h 6857996"/>
              <a:gd name="connsiteX452" fmla="*/ 2332529 w 12191993"/>
              <a:gd name="connsiteY452" fmla="*/ 6102378 h 6857996"/>
              <a:gd name="connsiteX453" fmla="*/ 2332529 w 12191993"/>
              <a:gd name="connsiteY453" fmla="*/ 6083895 h 6857996"/>
              <a:gd name="connsiteX454" fmla="*/ 2331230 w 12191993"/>
              <a:gd name="connsiteY454" fmla="*/ 6069624 h 6857996"/>
              <a:gd name="connsiteX455" fmla="*/ 2331880 w 12191993"/>
              <a:gd name="connsiteY455" fmla="*/ 6069624 h 6857996"/>
              <a:gd name="connsiteX456" fmla="*/ 2387992 w 12191993"/>
              <a:gd name="connsiteY456" fmla="*/ 6106270 h 6857996"/>
              <a:gd name="connsiteX457" fmla="*/ 2460646 w 12191993"/>
              <a:gd name="connsiteY457" fmla="*/ 6021305 h 6857996"/>
              <a:gd name="connsiteX458" fmla="*/ 2390589 w 12191993"/>
              <a:gd name="connsiteY458" fmla="*/ 5936335 h 6857996"/>
              <a:gd name="connsiteX459" fmla="*/ 2331880 w 12191993"/>
              <a:gd name="connsiteY459" fmla="*/ 5972980 h 6857996"/>
              <a:gd name="connsiteX460" fmla="*/ 2331230 w 12191993"/>
              <a:gd name="connsiteY460" fmla="*/ 5972980 h 6857996"/>
              <a:gd name="connsiteX461" fmla="*/ 2332529 w 12191993"/>
              <a:gd name="connsiteY461" fmla="*/ 5959687 h 6857996"/>
              <a:gd name="connsiteX462" fmla="*/ 2332529 w 12191993"/>
              <a:gd name="connsiteY462" fmla="*/ 5875367 h 6857996"/>
              <a:gd name="connsiteX463" fmla="*/ 2171335 w 12191993"/>
              <a:gd name="connsiteY463" fmla="*/ 5875367 h 6857996"/>
              <a:gd name="connsiteX464" fmla="*/ 2171335 w 12191993"/>
              <a:gd name="connsiteY464" fmla="*/ 5959687 h 6857996"/>
              <a:gd name="connsiteX465" fmla="*/ 2172633 w 12191993"/>
              <a:gd name="connsiteY465" fmla="*/ 5972980 h 6857996"/>
              <a:gd name="connsiteX466" fmla="*/ 2171984 w 12191993"/>
              <a:gd name="connsiteY466" fmla="*/ 5972980 h 6857996"/>
              <a:gd name="connsiteX467" fmla="*/ 2115863 w 12191993"/>
              <a:gd name="connsiteY467" fmla="*/ 5936335 h 6857996"/>
              <a:gd name="connsiteX468" fmla="*/ 2043207 w 12191993"/>
              <a:gd name="connsiteY468" fmla="*/ 6021305 h 6857996"/>
              <a:gd name="connsiteX469" fmla="*/ 2113275 w 12191993"/>
              <a:gd name="connsiteY469" fmla="*/ 6106270 h 6857996"/>
              <a:gd name="connsiteX470" fmla="*/ 2171984 w 12191993"/>
              <a:gd name="connsiteY470" fmla="*/ 6069624 h 6857996"/>
              <a:gd name="connsiteX471" fmla="*/ 2172633 w 12191993"/>
              <a:gd name="connsiteY471" fmla="*/ 6069624 h 6857996"/>
              <a:gd name="connsiteX472" fmla="*/ 2171335 w 12191993"/>
              <a:gd name="connsiteY472" fmla="*/ 6081948 h 6857996"/>
              <a:gd name="connsiteX473" fmla="*/ 2171335 w 12191993"/>
              <a:gd name="connsiteY473" fmla="*/ 6102378 h 6857996"/>
              <a:gd name="connsiteX474" fmla="*/ 2184955 w 12191993"/>
              <a:gd name="connsiteY474" fmla="*/ 6102378 h 6857996"/>
              <a:gd name="connsiteX475" fmla="*/ 2184955 w 12191993"/>
              <a:gd name="connsiteY475" fmla="*/ 5875367 h 6857996"/>
              <a:gd name="connsiteX476" fmla="*/ 1743547 w 12191993"/>
              <a:gd name="connsiteY476" fmla="*/ 5875367 h 6857996"/>
              <a:gd name="connsiteX477" fmla="*/ 1743547 w 12191993"/>
              <a:gd name="connsiteY477" fmla="*/ 5899040 h 6857996"/>
              <a:gd name="connsiteX478" fmla="*/ 1759765 w 12191993"/>
              <a:gd name="connsiteY478" fmla="*/ 5899040 h 6857996"/>
              <a:gd name="connsiteX479" fmla="*/ 1759765 w 12191993"/>
              <a:gd name="connsiteY479" fmla="*/ 5875367 h 6857996"/>
              <a:gd name="connsiteX480" fmla="*/ 1209673 w 12191993"/>
              <a:gd name="connsiteY480" fmla="*/ 5875367 h 6857996"/>
              <a:gd name="connsiteX481" fmla="*/ 1209673 w 12191993"/>
              <a:gd name="connsiteY481" fmla="*/ 6102378 h 6857996"/>
              <a:gd name="connsiteX482" fmla="*/ 1223622 w 12191993"/>
              <a:gd name="connsiteY482" fmla="*/ 6102378 h 6857996"/>
              <a:gd name="connsiteX483" fmla="*/ 1223622 w 12191993"/>
              <a:gd name="connsiteY483" fmla="*/ 5875367 h 6857996"/>
              <a:gd name="connsiteX484" fmla="*/ 740045 w 12191993"/>
              <a:gd name="connsiteY484" fmla="*/ 5875367 h 6857996"/>
              <a:gd name="connsiteX485" fmla="*/ 982628 w 12191993"/>
              <a:gd name="connsiteY485" fmla="*/ 6117904 h 6857996"/>
              <a:gd name="connsiteX486" fmla="*/ 982620 w 12191993"/>
              <a:gd name="connsiteY486" fmla="*/ 5875367 h 6857996"/>
              <a:gd name="connsiteX487" fmla="*/ 407989 w 12191993"/>
              <a:gd name="connsiteY487" fmla="*/ 5875366 h 6857996"/>
              <a:gd name="connsiteX488" fmla="*/ 407989 w 12191993"/>
              <a:gd name="connsiteY488" fmla="*/ 6117901 h 6857996"/>
              <a:gd name="connsiteX489" fmla="*/ 650560 w 12191993"/>
              <a:gd name="connsiteY489" fmla="*/ 5875366 h 6857996"/>
              <a:gd name="connsiteX490" fmla="*/ 693449 w 12191993"/>
              <a:gd name="connsiteY490" fmla="*/ 5875365 h 6857996"/>
              <a:gd name="connsiteX491" fmla="*/ 693449 w 12191993"/>
              <a:gd name="connsiteY491" fmla="*/ 6106201 h 6857996"/>
              <a:gd name="connsiteX492" fmla="*/ 685251 w 12191993"/>
              <a:gd name="connsiteY492" fmla="*/ 6106201 h 6857996"/>
              <a:gd name="connsiteX493" fmla="*/ 685251 w 12191993"/>
              <a:gd name="connsiteY493" fmla="*/ 6178022 h 6857996"/>
              <a:gd name="connsiteX494" fmla="*/ 655495 w 12191993"/>
              <a:gd name="connsiteY494" fmla="*/ 6178022 h 6857996"/>
              <a:gd name="connsiteX495" fmla="*/ 655495 w 12191993"/>
              <a:gd name="connsiteY495" fmla="*/ 6106201 h 6857996"/>
              <a:gd name="connsiteX496" fmla="*/ 617524 w 12191993"/>
              <a:gd name="connsiteY496" fmla="*/ 6106201 h 6857996"/>
              <a:gd name="connsiteX497" fmla="*/ 617524 w 12191993"/>
              <a:gd name="connsiteY497" fmla="*/ 6219053 h 6857996"/>
              <a:gd name="connsiteX498" fmla="*/ 693449 w 12191993"/>
              <a:gd name="connsiteY498" fmla="*/ 6219053 h 6857996"/>
              <a:gd name="connsiteX499" fmla="*/ 693449 w 12191993"/>
              <a:gd name="connsiteY499" fmla="*/ 6449904 h 6857996"/>
              <a:gd name="connsiteX500" fmla="*/ 697158 w 12191993"/>
              <a:gd name="connsiteY500" fmla="*/ 6449904 h 6857996"/>
              <a:gd name="connsiteX501" fmla="*/ 697158 w 12191993"/>
              <a:gd name="connsiteY501" fmla="*/ 6219053 h 6857996"/>
              <a:gd name="connsiteX502" fmla="*/ 726288 w 12191993"/>
              <a:gd name="connsiteY502" fmla="*/ 6219053 h 6857996"/>
              <a:gd name="connsiteX503" fmla="*/ 726288 w 12191993"/>
              <a:gd name="connsiteY503" fmla="*/ 6106201 h 6857996"/>
              <a:gd name="connsiteX504" fmla="*/ 697158 w 12191993"/>
              <a:gd name="connsiteY504" fmla="*/ 6106201 h 6857996"/>
              <a:gd name="connsiteX505" fmla="*/ 697154 w 12191993"/>
              <a:gd name="connsiteY505" fmla="*/ 5875365 h 6857996"/>
              <a:gd name="connsiteX506" fmla="*/ 3146995 w 12191993"/>
              <a:gd name="connsiteY506" fmla="*/ 5873419 h 6857996"/>
              <a:gd name="connsiteX507" fmla="*/ 3146995 w 12191993"/>
              <a:gd name="connsiteY507" fmla="*/ 5905528 h 6857996"/>
              <a:gd name="connsiteX508" fmla="*/ 3178780 w 12191993"/>
              <a:gd name="connsiteY508" fmla="*/ 5905528 h 6857996"/>
              <a:gd name="connsiteX509" fmla="*/ 3178780 w 12191993"/>
              <a:gd name="connsiteY509" fmla="*/ 5873419 h 6857996"/>
              <a:gd name="connsiteX510" fmla="*/ 5074981 w 12191993"/>
              <a:gd name="connsiteY510" fmla="*/ 3974428 h 6857996"/>
              <a:gd name="connsiteX511" fmla="*/ 7530588 w 12191993"/>
              <a:gd name="connsiteY511" fmla="*/ 6429546 h 6857996"/>
              <a:gd name="connsiteX512" fmla="*/ 5074981 w 12191993"/>
              <a:gd name="connsiteY512" fmla="*/ 6429546 h 6857996"/>
              <a:gd name="connsiteX513" fmla="*/ 11122964 w 12191993"/>
              <a:gd name="connsiteY513" fmla="*/ 3974190 h 6857996"/>
              <a:gd name="connsiteX514" fmla="*/ 11122964 w 12191993"/>
              <a:gd name="connsiteY514" fmla="*/ 6429463 h 6857996"/>
              <a:gd name="connsiteX515" fmla="*/ 8666920 w 12191993"/>
              <a:gd name="connsiteY515" fmla="*/ 6429463 h 6857996"/>
              <a:gd name="connsiteX516" fmla="*/ 11122964 w 12191993"/>
              <a:gd name="connsiteY516" fmla="*/ 3974190 h 6857996"/>
              <a:gd name="connsiteX517" fmla="*/ 5074885 w 12191993"/>
              <a:gd name="connsiteY517" fmla="*/ 3877086 h 6857996"/>
              <a:gd name="connsiteX518" fmla="*/ 5058713 w 12191993"/>
              <a:gd name="connsiteY518" fmla="*/ 3878325 h 6857996"/>
              <a:gd name="connsiteX519" fmla="*/ 5058713 w 12191993"/>
              <a:gd name="connsiteY519" fmla="*/ 6445810 h 6857996"/>
              <a:gd name="connsiteX520" fmla="*/ 7626641 w 12191993"/>
              <a:gd name="connsiteY520" fmla="*/ 6445810 h 6857996"/>
              <a:gd name="connsiteX521" fmla="*/ 7627884 w 12191993"/>
              <a:gd name="connsiteY521" fmla="*/ 6429641 h 6857996"/>
              <a:gd name="connsiteX522" fmla="*/ 5074885 w 12191993"/>
              <a:gd name="connsiteY522" fmla="*/ 3877086 h 6857996"/>
              <a:gd name="connsiteX523" fmla="*/ 11123059 w 12191993"/>
              <a:gd name="connsiteY523" fmla="*/ 3876995 h 6857996"/>
              <a:gd name="connsiteX524" fmla="*/ 8569625 w 12191993"/>
              <a:gd name="connsiteY524" fmla="*/ 6429558 h 6857996"/>
              <a:gd name="connsiteX525" fmla="*/ 8570868 w 12191993"/>
              <a:gd name="connsiteY525" fmla="*/ 6445727 h 6857996"/>
              <a:gd name="connsiteX526" fmla="*/ 11139231 w 12191993"/>
              <a:gd name="connsiteY526" fmla="*/ 6445727 h 6857996"/>
              <a:gd name="connsiteX527" fmla="*/ 11139231 w 12191993"/>
              <a:gd name="connsiteY527" fmla="*/ 3878238 h 6857996"/>
              <a:gd name="connsiteX528" fmla="*/ 5074862 w 12191993"/>
              <a:gd name="connsiteY528" fmla="*/ 382592 h 6857996"/>
              <a:gd name="connsiteX529" fmla="*/ 7530485 w 12191993"/>
              <a:gd name="connsiteY529" fmla="*/ 382592 h 6857996"/>
              <a:gd name="connsiteX530" fmla="*/ 5074862 w 12191993"/>
              <a:gd name="connsiteY530" fmla="*/ 2838143 h 6857996"/>
              <a:gd name="connsiteX531" fmla="*/ 8666781 w 12191993"/>
              <a:gd name="connsiteY531" fmla="*/ 382485 h 6857996"/>
              <a:gd name="connsiteX532" fmla="*/ 11122821 w 12191993"/>
              <a:gd name="connsiteY532" fmla="*/ 382485 h 6857996"/>
              <a:gd name="connsiteX533" fmla="*/ 11122821 w 12191993"/>
              <a:gd name="connsiteY533" fmla="*/ 2838196 h 6857996"/>
              <a:gd name="connsiteX534" fmla="*/ 8666781 w 12191993"/>
              <a:gd name="connsiteY534" fmla="*/ 382485 h 6857996"/>
              <a:gd name="connsiteX535" fmla="*/ 5058594 w 12191993"/>
              <a:gd name="connsiteY535" fmla="*/ 366328 h 6857996"/>
              <a:gd name="connsiteX536" fmla="*/ 5058594 w 12191993"/>
              <a:gd name="connsiteY536" fmla="*/ 2934247 h 6857996"/>
              <a:gd name="connsiteX537" fmla="*/ 5074766 w 12191993"/>
              <a:gd name="connsiteY537" fmla="*/ 2935488 h 6857996"/>
              <a:gd name="connsiteX538" fmla="*/ 7627761 w 12191993"/>
              <a:gd name="connsiteY538" fmla="*/ 382497 h 6857996"/>
              <a:gd name="connsiteX539" fmla="*/ 7626518 w 12191993"/>
              <a:gd name="connsiteY539" fmla="*/ 366328 h 6857996"/>
              <a:gd name="connsiteX540" fmla="*/ 8570721 w 12191993"/>
              <a:gd name="connsiteY540" fmla="*/ 366221 h 6857996"/>
              <a:gd name="connsiteX541" fmla="*/ 8569478 w 12191993"/>
              <a:gd name="connsiteY541" fmla="*/ 382390 h 6857996"/>
              <a:gd name="connsiteX542" fmla="*/ 11122916 w 12191993"/>
              <a:gd name="connsiteY542" fmla="*/ 2935381 h 6857996"/>
              <a:gd name="connsiteX543" fmla="*/ 11139088 w 12191993"/>
              <a:gd name="connsiteY543" fmla="*/ 2934139 h 6857996"/>
              <a:gd name="connsiteX544" fmla="*/ 11139088 w 12191993"/>
              <a:gd name="connsiteY544" fmla="*/ 366221 h 6857996"/>
              <a:gd name="connsiteX545" fmla="*/ 0 w 12191993"/>
              <a:gd name="connsiteY545" fmla="*/ 0 h 6857996"/>
              <a:gd name="connsiteX546" fmla="*/ 12191993 w 12191993"/>
              <a:gd name="connsiteY546" fmla="*/ 0 h 6857996"/>
              <a:gd name="connsiteX547" fmla="*/ 12191993 w 12191993"/>
              <a:gd name="connsiteY547" fmla="*/ 6857996 h 6857996"/>
              <a:gd name="connsiteX548" fmla="*/ 0 w 12191993"/>
              <a:gd name="connsiteY548" fmla="*/ 6857996 h 685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Lst>
            <a:rect l="l" t="t" r="r" b="b"/>
            <a:pathLst>
              <a:path w="12191993" h="6857996">
                <a:moveTo>
                  <a:pt x="3578903" y="6416506"/>
                </a:moveTo>
                <a:lnTo>
                  <a:pt x="3578903" y="6449909"/>
                </a:lnTo>
                <a:lnTo>
                  <a:pt x="3611987" y="6449909"/>
                </a:lnTo>
                <a:lnTo>
                  <a:pt x="3611987" y="6416506"/>
                </a:lnTo>
                <a:close/>
                <a:moveTo>
                  <a:pt x="3481994" y="6306894"/>
                </a:moveTo>
                <a:cubicBezTo>
                  <a:pt x="3503073" y="6306894"/>
                  <a:pt x="3520589" y="6320511"/>
                  <a:pt x="3521564" y="6348729"/>
                </a:cubicBezTo>
                <a:lnTo>
                  <a:pt x="3433990" y="6348729"/>
                </a:lnTo>
                <a:cubicBezTo>
                  <a:pt x="3438527" y="6321810"/>
                  <a:pt x="3457992" y="6306894"/>
                  <a:pt x="3481994" y="6306894"/>
                </a:cubicBezTo>
                <a:close/>
                <a:moveTo>
                  <a:pt x="2971631" y="6306894"/>
                </a:moveTo>
                <a:cubicBezTo>
                  <a:pt x="2992711" y="6306894"/>
                  <a:pt x="3010227" y="6320511"/>
                  <a:pt x="3011201" y="6348729"/>
                </a:cubicBezTo>
                <a:lnTo>
                  <a:pt x="2923627" y="6348729"/>
                </a:lnTo>
                <a:cubicBezTo>
                  <a:pt x="2928165" y="6321810"/>
                  <a:pt x="2947629" y="6306894"/>
                  <a:pt x="2971631" y="6306894"/>
                </a:cubicBezTo>
                <a:close/>
                <a:moveTo>
                  <a:pt x="2218851" y="6297163"/>
                </a:moveTo>
                <a:cubicBezTo>
                  <a:pt x="2251936" y="6297163"/>
                  <a:pt x="2275288" y="6325052"/>
                  <a:pt x="2275288" y="6368835"/>
                </a:cubicBezTo>
                <a:cubicBezTo>
                  <a:pt x="2275288" y="6414238"/>
                  <a:pt x="2249338" y="6440507"/>
                  <a:pt x="2217552" y="6440507"/>
                </a:cubicBezTo>
                <a:cubicBezTo>
                  <a:pt x="2179598" y="6440507"/>
                  <a:pt x="2161116" y="6405156"/>
                  <a:pt x="2161116" y="6369160"/>
                </a:cubicBezTo>
                <a:cubicBezTo>
                  <a:pt x="2161116" y="6318243"/>
                  <a:pt x="2189006" y="6297163"/>
                  <a:pt x="2218851" y="6297163"/>
                </a:cubicBezTo>
                <a:close/>
                <a:moveTo>
                  <a:pt x="1782667" y="6296514"/>
                </a:moveTo>
                <a:cubicBezTo>
                  <a:pt x="1809586" y="6296514"/>
                  <a:pt x="1833268" y="6314352"/>
                  <a:pt x="1834887" y="6353915"/>
                </a:cubicBezTo>
                <a:lnTo>
                  <a:pt x="1719416" y="6353915"/>
                </a:lnTo>
                <a:cubicBezTo>
                  <a:pt x="1725256" y="6315975"/>
                  <a:pt x="1752825" y="6296514"/>
                  <a:pt x="1782667" y="6296514"/>
                </a:cubicBezTo>
                <a:close/>
                <a:moveTo>
                  <a:pt x="2293320" y="6287757"/>
                </a:moveTo>
                <a:lnTo>
                  <a:pt x="2360462" y="6448936"/>
                </a:lnTo>
                <a:lnTo>
                  <a:pt x="2348783" y="6475855"/>
                </a:lnTo>
                <a:cubicBezTo>
                  <a:pt x="2342297" y="6491096"/>
                  <a:pt x="2332565" y="6505042"/>
                  <a:pt x="2316996" y="6505042"/>
                </a:cubicBezTo>
                <a:cubicBezTo>
                  <a:pt x="2309639" y="6504634"/>
                  <a:pt x="2302598" y="6501910"/>
                  <a:pt x="2296883" y="6497259"/>
                </a:cubicBezTo>
                <a:lnTo>
                  <a:pt x="2290722" y="6508934"/>
                </a:lnTo>
                <a:cubicBezTo>
                  <a:pt x="2298267" y="6514722"/>
                  <a:pt x="2307487" y="6517908"/>
                  <a:pt x="2316996" y="6518015"/>
                </a:cubicBezTo>
                <a:cubicBezTo>
                  <a:pt x="2337427" y="6518015"/>
                  <a:pt x="2351055" y="6504717"/>
                  <a:pt x="2358190" y="6487853"/>
                </a:cubicBezTo>
                <a:lnTo>
                  <a:pt x="2441550" y="6287757"/>
                </a:lnTo>
                <a:lnTo>
                  <a:pt x="2426956" y="6287757"/>
                </a:lnTo>
                <a:lnTo>
                  <a:pt x="2373434" y="6417155"/>
                </a:lnTo>
                <a:cubicBezTo>
                  <a:pt x="2370187" y="6424938"/>
                  <a:pt x="2367922" y="6432396"/>
                  <a:pt x="2367922" y="6432396"/>
                </a:cubicBezTo>
                <a:lnTo>
                  <a:pt x="2367272" y="6432396"/>
                </a:lnTo>
                <a:cubicBezTo>
                  <a:pt x="2367272" y="6432396"/>
                  <a:pt x="2364675" y="6424938"/>
                  <a:pt x="2361429" y="6417155"/>
                </a:cubicBezTo>
                <a:lnTo>
                  <a:pt x="2307914" y="6287757"/>
                </a:lnTo>
                <a:close/>
                <a:moveTo>
                  <a:pt x="1560161" y="6287757"/>
                </a:moveTo>
                <a:lnTo>
                  <a:pt x="1624058" y="6449909"/>
                </a:lnTo>
                <a:lnTo>
                  <a:pt x="1637032" y="6449909"/>
                </a:lnTo>
                <a:lnTo>
                  <a:pt x="1700608" y="6287757"/>
                </a:lnTo>
                <a:lnTo>
                  <a:pt x="1686334" y="6287757"/>
                </a:lnTo>
                <a:lnTo>
                  <a:pt x="1636383" y="6414887"/>
                </a:lnTo>
                <a:cubicBezTo>
                  <a:pt x="1633465" y="6422669"/>
                  <a:pt x="1630868" y="6432396"/>
                  <a:pt x="1630868" y="6432396"/>
                </a:cubicBezTo>
                <a:lnTo>
                  <a:pt x="1630218" y="6432396"/>
                </a:lnTo>
                <a:cubicBezTo>
                  <a:pt x="1630218" y="6432396"/>
                  <a:pt x="1627629" y="6422669"/>
                  <a:pt x="1624707" y="6414887"/>
                </a:cubicBezTo>
                <a:lnTo>
                  <a:pt x="1574755" y="6287757"/>
                </a:lnTo>
                <a:close/>
                <a:moveTo>
                  <a:pt x="1526463" y="6287757"/>
                </a:moveTo>
                <a:lnTo>
                  <a:pt x="1526463" y="6449909"/>
                </a:lnTo>
                <a:lnTo>
                  <a:pt x="1540087" y="6449909"/>
                </a:lnTo>
                <a:lnTo>
                  <a:pt x="1540087" y="6287757"/>
                </a:lnTo>
                <a:close/>
                <a:moveTo>
                  <a:pt x="1496207" y="6286463"/>
                </a:moveTo>
                <a:cubicBezTo>
                  <a:pt x="1470580" y="6286463"/>
                  <a:pt x="1452419" y="6306894"/>
                  <a:pt x="1444311" y="6331866"/>
                </a:cubicBezTo>
                <a:lnTo>
                  <a:pt x="1443661" y="6331866"/>
                </a:lnTo>
                <a:cubicBezTo>
                  <a:pt x="1444529" y="6327486"/>
                  <a:pt x="1444964" y="6323032"/>
                  <a:pt x="1444960" y="6318568"/>
                </a:cubicBezTo>
                <a:lnTo>
                  <a:pt x="1444960" y="6287757"/>
                </a:lnTo>
                <a:lnTo>
                  <a:pt x="1431332" y="6287757"/>
                </a:lnTo>
                <a:lnTo>
                  <a:pt x="1431332" y="6449910"/>
                </a:lnTo>
                <a:lnTo>
                  <a:pt x="1444960" y="6449910"/>
                </a:lnTo>
                <a:lnTo>
                  <a:pt x="1444960" y="6379861"/>
                </a:lnTo>
                <a:cubicBezTo>
                  <a:pt x="1444867" y="6368331"/>
                  <a:pt x="1446506" y="6356852"/>
                  <a:pt x="1449821" y="6345808"/>
                </a:cubicBezTo>
                <a:cubicBezTo>
                  <a:pt x="1456956" y="6321810"/>
                  <a:pt x="1472850" y="6300406"/>
                  <a:pt x="1498150" y="6300406"/>
                </a:cubicBezTo>
                <a:cubicBezTo>
                  <a:pt x="1500648" y="6300445"/>
                  <a:pt x="1503141" y="6300662"/>
                  <a:pt x="1505609" y="6301055"/>
                </a:cubicBezTo>
                <a:lnTo>
                  <a:pt x="1505609" y="6287433"/>
                </a:lnTo>
                <a:cubicBezTo>
                  <a:pt x="1502511" y="6286819"/>
                  <a:pt x="1499364" y="6286494"/>
                  <a:pt x="1496207" y="6286463"/>
                </a:cubicBezTo>
                <a:close/>
                <a:moveTo>
                  <a:pt x="2833876" y="6285815"/>
                </a:moveTo>
                <a:lnTo>
                  <a:pt x="2833876" y="6449910"/>
                </a:lnTo>
                <a:lnTo>
                  <a:pt x="2865337" y="6449910"/>
                </a:lnTo>
                <a:lnTo>
                  <a:pt x="2865337" y="6285815"/>
                </a:lnTo>
                <a:close/>
                <a:moveTo>
                  <a:pt x="1962617" y="6283866"/>
                </a:moveTo>
                <a:cubicBezTo>
                  <a:pt x="1932589" y="6283915"/>
                  <a:pt x="1905505" y="6301924"/>
                  <a:pt x="1893850" y="6329593"/>
                </a:cubicBezTo>
                <a:lnTo>
                  <a:pt x="1893201" y="6329593"/>
                </a:lnTo>
                <a:cubicBezTo>
                  <a:pt x="1894069" y="6325214"/>
                  <a:pt x="1894504" y="6320760"/>
                  <a:pt x="1894499" y="6316296"/>
                </a:cubicBezTo>
                <a:lnTo>
                  <a:pt x="1894499" y="6287757"/>
                </a:lnTo>
                <a:lnTo>
                  <a:pt x="1880875" y="6287757"/>
                </a:lnTo>
                <a:lnTo>
                  <a:pt x="1880875" y="6449909"/>
                </a:lnTo>
                <a:lnTo>
                  <a:pt x="1894500" y="6449909"/>
                </a:lnTo>
                <a:lnTo>
                  <a:pt x="1894500" y="6370779"/>
                </a:lnTo>
                <a:cubicBezTo>
                  <a:pt x="1894344" y="6363345"/>
                  <a:pt x="1895217" y="6355925"/>
                  <a:pt x="1897093" y="6348730"/>
                </a:cubicBezTo>
                <a:cubicBezTo>
                  <a:pt x="1904831" y="6318751"/>
                  <a:pt x="1931655" y="6297641"/>
                  <a:pt x="1962617" y="6297163"/>
                </a:cubicBezTo>
                <a:cubicBezTo>
                  <a:pt x="1998940" y="6297163"/>
                  <a:pt x="2002511" y="6323758"/>
                  <a:pt x="2002511" y="6351972"/>
                </a:cubicBezTo>
                <a:lnTo>
                  <a:pt x="2002511" y="6449909"/>
                </a:lnTo>
                <a:lnTo>
                  <a:pt x="2016132" y="6449909"/>
                </a:lnTo>
                <a:lnTo>
                  <a:pt x="2016132" y="6347107"/>
                </a:lnTo>
                <a:cubicBezTo>
                  <a:pt x="2016132" y="6308837"/>
                  <a:pt x="2004784" y="6283866"/>
                  <a:pt x="1962617" y="6283866"/>
                </a:cubicBezTo>
                <a:close/>
                <a:moveTo>
                  <a:pt x="1782992" y="6283866"/>
                </a:moveTo>
                <a:cubicBezTo>
                  <a:pt x="1741473" y="6283866"/>
                  <a:pt x="1704172" y="6314352"/>
                  <a:pt x="1704172" y="6369160"/>
                </a:cubicBezTo>
                <a:cubicBezTo>
                  <a:pt x="1704172" y="6420722"/>
                  <a:pt x="1742119" y="6453801"/>
                  <a:pt x="1787858" y="6453801"/>
                </a:cubicBezTo>
                <a:cubicBezTo>
                  <a:pt x="1809172" y="6453549"/>
                  <a:pt x="1829677" y="6445602"/>
                  <a:pt x="1845593" y="6431427"/>
                </a:cubicBezTo>
                <a:lnTo>
                  <a:pt x="1838134" y="6420073"/>
                </a:lnTo>
                <a:cubicBezTo>
                  <a:pt x="1824600" y="6433054"/>
                  <a:pt x="1806612" y="6440366"/>
                  <a:pt x="1787858" y="6440508"/>
                </a:cubicBezTo>
                <a:cubicBezTo>
                  <a:pt x="1750232" y="6440508"/>
                  <a:pt x="1718442" y="6413589"/>
                  <a:pt x="1718442" y="6366563"/>
                </a:cubicBezTo>
                <a:lnTo>
                  <a:pt x="1848511" y="6366563"/>
                </a:lnTo>
                <a:cubicBezTo>
                  <a:pt x="1848511" y="6366563"/>
                  <a:pt x="1849161" y="6361377"/>
                  <a:pt x="1849161" y="6357807"/>
                </a:cubicBezTo>
                <a:cubicBezTo>
                  <a:pt x="1849161" y="6318568"/>
                  <a:pt x="1827103" y="6283866"/>
                  <a:pt x="1782992" y="6283866"/>
                </a:cubicBezTo>
                <a:close/>
                <a:moveTo>
                  <a:pt x="3482643" y="6281922"/>
                </a:moveTo>
                <a:cubicBezTo>
                  <a:pt x="3435929" y="6281922"/>
                  <a:pt x="3400581" y="6315650"/>
                  <a:pt x="3400581" y="6367862"/>
                </a:cubicBezTo>
                <a:cubicBezTo>
                  <a:pt x="3400581" y="6416506"/>
                  <a:pt x="3435929" y="6453801"/>
                  <a:pt x="3487504" y="6453801"/>
                </a:cubicBezTo>
                <a:cubicBezTo>
                  <a:pt x="3510804" y="6453844"/>
                  <a:pt x="3533352" y="6445564"/>
                  <a:pt x="3551085" y="6430452"/>
                </a:cubicBezTo>
                <a:lnTo>
                  <a:pt x="3538105" y="6407425"/>
                </a:lnTo>
                <a:cubicBezTo>
                  <a:pt x="3524564" y="6419193"/>
                  <a:pt x="3507385" y="6425950"/>
                  <a:pt x="3489453" y="6426561"/>
                </a:cubicBezTo>
                <a:cubicBezTo>
                  <a:pt x="3460256" y="6426561"/>
                  <a:pt x="3434638" y="6408398"/>
                  <a:pt x="3433015" y="6372402"/>
                </a:cubicBezTo>
                <a:lnTo>
                  <a:pt x="3552700" y="6372402"/>
                </a:lnTo>
                <a:cubicBezTo>
                  <a:pt x="3552700" y="6372402"/>
                  <a:pt x="3553673" y="6362996"/>
                  <a:pt x="3553673" y="6358780"/>
                </a:cubicBezTo>
                <a:cubicBezTo>
                  <a:pt x="3553673" y="6316295"/>
                  <a:pt x="3529023" y="6281922"/>
                  <a:pt x="3482643" y="6281922"/>
                </a:cubicBezTo>
                <a:close/>
                <a:moveTo>
                  <a:pt x="3328545" y="6281922"/>
                </a:moveTo>
                <a:cubicBezTo>
                  <a:pt x="3276969" y="6281922"/>
                  <a:pt x="3240639" y="6319217"/>
                  <a:pt x="3240639" y="6367862"/>
                </a:cubicBezTo>
                <a:cubicBezTo>
                  <a:pt x="3240639" y="6417155"/>
                  <a:pt x="3276969" y="6453801"/>
                  <a:pt x="3328545" y="6453801"/>
                </a:cubicBezTo>
                <a:cubicBezTo>
                  <a:pt x="3353053" y="6454342"/>
                  <a:pt x="3376720" y="6444855"/>
                  <a:pt x="3394065" y="6427535"/>
                </a:cubicBezTo>
                <a:lnTo>
                  <a:pt x="3381411" y="6404507"/>
                </a:lnTo>
                <a:cubicBezTo>
                  <a:pt x="3367999" y="6418078"/>
                  <a:pt x="3349882" y="6425974"/>
                  <a:pt x="3330810" y="6426561"/>
                </a:cubicBezTo>
                <a:cubicBezTo>
                  <a:pt x="3296751" y="6426561"/>
                  <a:pt x="3272749" y="6400940"/>
                  <a:pt x="3272749" y="6367536"/>
                </a:cubicBezTo>
                <a:cubicBezTo>
                  <a:pt x="3272749" y="6333809"/>
                  <a:pt x="3296751" y="6309162"/>
                  <a:pt x="3329836" y="6309162"/>
                </a:cubicBezTo>
                <a:cubicBezTo>
                  <a:pt x="3346822" y="6309400"/>
                  <a:pt x="3363072" y="6316132"/>
                  <a:pt x="3375250" y="6327973"/>
                </a:cubicBezTo>
                <a:lnTo>
                  <a:pt x="3390169" y="6305919"/>
                </a:lnTo>
                <a:cubicBezTo>
                  <a:pt x="3390169" y="6305919"/>
                  <a:pt x="3369738" y="6281922"/>
                  <a:pt x="3328545" y="6281922"/>
                </a:cubicBezTo>
                <a:close/>
                <a:moveTo>
                  <a:pt x="3161340" y="6281922"/>
                </a:moveTo>
                <a:cubicBezTo>
                  <a:pt x="3135204" y="6281326"/>
                  <a:pt x="3111121" y="6296026"/>
                  <a:pt x="3099708" y="6319542"/>
                </a:cubicBezTo>
                <a:lnTo>
                  <a:pt x="3099059" y="6319542"/>
                </a:lnTo>
                <a:cubicBezTo>
                  <a:pt x="3099484" y="6315556"/>
                  <a:pt x="3099701" y="6311551"/>
                  <a:pt x="3099708" y="6307543"/>
                </a:cubicBezTo>
                <a:lnTo>
                  <a:pt x="3099708" y="6285814"/>
                </a:lnTo>
                <a:lnTo>
                  <a:pt x="3069221" y="6285814"/>
                </a:lnTo>
                <a:lnTo>
                  <a:pt x="3069221" y="6449909"/>
                </a:lnTo>
                <a:lnTo>
                  <a:pt x="3100682" y="6449909"/>
                </a:lnTo>
                <a:lnTo>
                  <a:pt x="3100682" y="6373051"/>
                </a:lnTo>
                <a:cubicBezTo>
                  <a:pt x="3100487" y="6365614"/>
                  <a:pt x="3101362" y="6358186"/>
                  <a:pt x="3103280" y="6350997"/>
                </a:cubicBezTo>
                <a:cubicBezTo>
                  <a:pt x="3109426" y="6327359"/>
                  <a:pt x="3130744" y="6310840"/>
                  <a:pt x="3155171" y="6310785"/>
                </a:cubicBezTo>
                <a:cubicBezTo>
                  <a:pt x="3181446" y="6310785"/>
                  <a:pt x="3186316" y="6328944"/>
                  <a:pt x="3186316" y="6351971"/>
                </a:cubicBezTo>
                <a:lnTo>
                  <a:pt x="3186316" y="6449909"/>
                </a:lnTo>
                <a:lnTo>
                  <a:pt x="3217777" y="6449909"/>
                </a:lnTo>
                <a:lnTo>
                  <a:pt x="3217777" y="6344838"/>
                </a:lnTo>
                <a:cubicBezTo>
                  <a:pt x="3217777" y="6303003"/>
                  <a:pt x="3199936" y="6281922"/>
                  <a:pt x="3161340" y="6281922"/>
                </a:cubicBezTo>
                <a:close/>
                <a:moveTo>
                  <a:pt x="2972280" y="6281922"/>
                </a:moveTo>
                <a:cubicBezTo>
                  <a:pt x="2925568" y="6281922"/>
                  <a:pt x="2890218" y="6315650"/>
                  <a:pt x="2890218" y="6367862"/>
                </a:cubicBezTo>
                <a:cubicBezTo>
                  <a:pt x="2890218" y="6416506"/>
                  <a:pt x="2925568" y="6453801"/>
                  <a:pt x="2977142" y="6453801"/>
                </a:cubicBezTo>
                <a:cubicBezTo>
                  <a:pt x="3000442" y="6453844"/>
                  <a:pt x="3022990" y="6445564"/>
                  <a:pt x="3040722" y="6430452"/>
                </a:cubicBezTo>
                <a:lnTo>
                  <a:pt x="3027743" y="6407425"/>
                </a:lnTo>
                <a:cubicBezTo>
                  <a:pt x="3014201" y="6419193"/>
                  <a:pt x="2997023" y="6425950"/>
                  <a:pt x="2979090" y="6426561"/>
                </a:cubicBezTo>
                <a:cubicBezTo>
                  <a:pt x="2949894" y="6426561"/>
                  <a:pt x="2924277" y="6408398"/>
                  <a:pt x="2922653" y="6372402"/>
                </a:cubicBezTo>
                <a:lnTo>
                  <a:pt x="3042338" y="6372402"/>
                </a:lnTo>
                <a:cubicBezTo>
                  <a:pt x="3042338" y="6372402"/>
                  <a:pt x="3043311" y="6362996"/>
                  <a:pt x="3043311" y="6358780"/>
                </a:cubicBezTo>
                <a:cubicBezTo>
                  <a:pt x="3043311" y="6316295"/>
                  <a:pt x="3018660" y="6281922"/>
                  <a:pt x="2972280" y="6281922"/>
                </a:cubicBezTo>
                <a:close/>
                <a:moveTo>
                  <a:pt x="2748837" y="6281922"/>
                </a:moveTo>
                <a:cubicBezTo>
                  <a:pt x="2697262" y="6281922"/>
                  <a:pt x="2660931" y="6319217"/>
                  <a:pt x="2660931" y="6367862"/>
                </a:cubicBezTo>
                <a:cubicBezTo>
                  <a:pt x="2660931" y="6417155"/>
                  <a:pt x="2697262" y="6453801"/>
                  <a:pt x="2748837" y="6453801"/>
                </a:cubicBezTo>
                <a:cubicBezTo>
                  <a:pt x="2773344" y="6454342"/>
                  <a:pt x="2797011" y="6444855"/>
                  <a:pt x="2814356" y="6427535"/>
                </a:cubicBezTo>
                <a:lnTo>
                  <a:pt x="2801703" y="6404507"/>
                </a:lnTo>
                <a:cubicBezTo>
                  <a:pt x="2788291" y="6418078"/>
                  <a:pt x="2770174" y="6425974"/>
                  <a:pt x="2751101" y="6426561"/>
                </a:cubicBezTo>
                <a:cubicBezTo>
                  <a:pt x="2717043" y="6426561"/>
                  <a:pt x="2693040" y="6400940"/>
                  <a:pt x="2693040" y="6367536"/>
                </a:cubicBezTo>
                <a:cubicBezTo>
                  <a:pt x="2693040" y="6333809"/>
                  <a:pt x="2717043" y="6309162"/>
                  <a:pt x="2750128" y="6309162"/>
                </a:cubicBezTo>
                <a:cubicBezTo>
                  <a:pt x="2767113" y="6309400"/>
                  <a:pt x="2783363" y="6316132"/>
                  <a:pt x="2795541" y="6327973"/>
                </a:cubicBezTo>
                <a:lnTo>
                  <a:pt x="2810461" y="6305919"/>
                </a:lnTo>
                <a:cubicBezTo>
                  <a:pt x="2810461" y="6305919"/>
                  <a:pt x="2790029" y="6281922"/>
                  <a:pt x="2748837" y="6281922"/>
                </a:cubicBezTo>
                <a:close/>
                <a:moveTo>
                  <a:pt x="2593020" y="6281922"/>
                </a:moveTo>
                <a:cubicBezTo>
                  <a:pt x="2560260" y="6281922"/>
                  <a:pt x="2533661" y="6298787"/>
                  <a:pt x="2533661" y="6328619"/>
                </a:cubicBezTo>
                <a:cubicBezTo>
                  <a:pt x="2533661" y="6382132"/>
                  <a:pt x="2617996" y="6375969"/>
                  <a:pt x="2617996" y="6406130"/>
                </a:cubicBezTo>
                <a:cubicBezTo>
                  <a:pt x="2617996" y="6419427"/>
                  <a:pt x="2604367" y="6426561"/>
                  <a:pt x="2590747" y="6426561"/>
                </a:cubicBezTo>
                <a:cubicBezTo>
                  <a:pt x="2573236" y="6426254"/>
                  <a:pt x="2556467" y="6419431"/>
                  <a:pt x="2543718" y="6407425"/>
                </a:cubicBezTo>
                <a:lnTo>
                  <a:pt x="2528466" y="6429803"/>
                </a:lnTo>
                <a:cubicBezTo>
                  <a:pt x="2545284" y="6445645"/>
                  <a:pt x="2567645" y="6454261"/>
                  <a:pt x="2590747" y="6453801"/>
                </a:cubicBezTo>
                <a:cubicBezTo>
                  <a:pt x="2626753" y="6453801"/>
                  <a:pt x="2650106" y="6433369"/>
                  <a:pt x="2650106" y="6406130"/>
                </a:cubicBezTo>
                <a:cubicBezTo>
                  <a:pt x="2650106" y="6352295"/>
                  <a:pt x="2565771" y="6358780"/>
                  <a:pt x="2565771" y="6329268"/>
                </a:cubicBezTo>
                <a:cubicBezTo>
                  <a:pt x="2565771" y="6315001"/>
                  <a:pt x="2579067" y="6309162"/>
                  <a:pt x="2592695" y="6309162"/>
                </a:cubicBezTo>
                <a:cubicBezTo>
                  <a:pt x="2607550" y="6308844"/>
                  <a:pt x="2621996" y="6314044"/>
                  <a:pt x="2633239" y="6323757"/>
                </a:cubicBezTo>
                <a:lnTo>
                  <a:pt x="2645885" y="6300081"/>
                </a:lnTo>
                <a:cubicBezTo>
                  <a:pt x="2645885" y="6300081"/>
                  <a:pt x="2629018" y="6281922"/>
                  <a:pt x="2593020" y="6281922"/>
                </a:cubicBezTo>
                <a:close/>
                <a:moveTo>
                  <a:pt x="1223619" y="6235871"/>
                </a:moveTo>
                <a:lnTo>
                  <a:pt x="1278761" y="6235871"/>
                </a:lnTo>
                <a:cubicBezTo>
                  <a:pt x="1339094" y="6235871"/>
                  <a:pt x="1379638" y="6271542"/>
                  <a:pt x="1379638" y="6336406"/>
                </a:cubicBezTo>
                <a:cubicBezTo>
                  <a:pt x="1379638" y="6401589"/>
                  <a:pt x="1339094" y="6436937"/>
                  <a:pt x="1278761" y="6436937"/>
                </a:cubicBezTo>
                <a:lnTo>
                  <a:pt x="1223619" y="6436937"/>
                </a:lnTo>
                <a:close/>
                <a:moveTo>
                  <a:pt x="2147812" y="6222898"/>
                </a:moveTo>
                <a:lnTo>
                  <a:pt x="2147812" y="6449909"/>
                </a:lnTo>
                <a:lnTo>
                  <a:pt x="2161440" y="6449909"/>
                </a:lnTo>
                <a:lnTo>
                  <a:pt x="2161440" y="6431426"/>
                </a:lnTo>
                <a:cubicBezTo>
                  <a:pt x="2161480" y="6426638"/>
                  <a:pt x="2161045" y="6421858"/>
                  <a:pt x="2160141" y="6417155"/>
                </a:cubicBezTo>
                <a:lnTo>
                  <a:pt x="2160791" y="6417155"/>
                </a:lnTo>
                <a:cubicBezTo>
                  <a:pt x="2160791" y="6417155"/>
                  <a:pt x="2176035" y="6453801"/>
                  <a:pt x="2216903" y="6453801"/>
                </a:cubicBezTo>
                <a:cubicBezTo>
                  <a:pt x="2259395" y="6453801"/>
                  <a:pt x="2289558" y="6420397"/>
                  <a:pt x="2289558" y="6368835"/>
                </a:cubicBezTo>
                <a:cubicBezTo>
                  <a:pt x="2289558" y="6318568"/>
                  <a:pt x="2262959" y="6283866"/>
                  <a:pt x="2219501" y="6283866"/>
                </a:cubicBezTo>
                <a:cubicBezTo>
                  <a:pt x="2194302" y="6283022"/>
                  <a:pt x="2171097" y="6297505"/>
                  <a:pt x="2160791" y="6320511"/>
                </a:cubicBezTo>
                <a:lnTo>
                  <a:pt x="2160141" y="6320511"/>
                </a:lnTo>
                <a:cubicBezTo>
                  <a:pt x="2161010" y="6316134"/>
                  <a:pt x="2161445" y="6311681"/>
                  <a:pt x="2161440" y="6307218"/>
                </a:cubicBezTo>
                <a:lnTo>
                  <a:pt x="2161440" y="6222898"/>
                </a:lnTo>
                <a:close/>
                <a:moveTo>
                  <a:pt x="1525168" y="6222898"/>
                </a:moveTo>
                <a:lnTo>
                  <a:pt x="1525168" y="6246571"/>
                </a:lnTo>
                <a:lnTo>
                  <a:pt x="1541386" y="6246571"/>
                </a:lnTo>
                <a:lnTo>
                  <a:pt x="1541386" y="6222898"/>
                </a:lnTo>
                <a:close/>
                <a:moveTo>
                  <a:pt x="1209670" y="6222898"/>
                </a:moveTo>
                <a:lnTo>
                  <a:pt x="1209670" y="6449909"/>
                </a:lnTo>
                <a:lnTo>
                  <a:pt x="1281034" y="6449909"/>
                </a:lnTo>
                <a:cubicBezTo>
                  <a:pt x="1348498" y="6449909"/>
                  <a:pt x="1394232" y="6408723"/>
                  <a:pt x="1394232" y="6336406"/>
                </a:cubicBezTo>
                <a:cubicBezTo>
                  <a:pt x="1394232" y="6264409"/>
                  <a:pt x="1348498" y="6222898"/>
                  <a:pt x="1281034" y="6222898"/>
                </a:cubicBezTo>
                <a:close/>
                <a:moveTo>
                  <a:pt x="2833551" y="6220951"/>
                </a:moveTo>
                <a:lnTo>
                  <a:pt x="2833551" y="6253060"/>
                </a:lnTo>
                <a:lnTo>
                  <a:pt x="2865337" y="6253060"/>
                </a:lnTo>
                <a:lnTo>
                  <a:pt x="2865337" y="6220951"/>
                </a:lnTo>
                <a:close/>
                <a:moveTo>
                  <a:pt x="982628" y="6207360"/>
                </a:moveTo>
                <a:cubicBezTo>
                  <a:pt x="963105" y="6332337"/>
                  <a:pt x="865050" y="6430379"/>
                  <a:pt x="740053" y="6449905"/>
                </a:cubicBezTo>
                <a:lnTo>
                  <a:pt x="982628" y="6449909"/>
                </a:lnTo>
                <a:close/>
                <a:moveTo>
                  <a:pt x="407989" y="6207356"/>
                </a:moveTo>
                <a:lnTo>
                  <a:pt x="407989" y="6449905"/>
                </a:lnTo>
                <a:lnTo>
                  <a:pt x="650564" y="6449905"/>
                </a:lnTo>
                <a:cubicBezTo>
                  <a:pt x="525562" y="6430384"/>
                  <a:pt x="427505" y="6332337"/>
                  <a:pt x="407989" y="6207356"/>
                </a:cubicBezTo>
                <a:close/>
                <a:moveTo>
                  <a:pt x="883619" y="6147250"/>
                </a:moveTo>
                <a:lnTo>
                  <a:pt x="915428" y="6147250"/>
                </a:lnTo>
                <a:lnTo>
                  <a:pt x="915428" y="6178023"/>
                </a:lnTo>
                <a:lnTo>
                  <a:pt x="883619" y="6178023"/>
                </a:lnTo>
                <a:close/>
                <a:moveTo>
                  <a:pt x="739956" y="6106213"/>
                </a:moveTo>
                <a:lnTo>
                  <a:pt x="739956" y="6219065"/>
                </a:lnTo>
                <a:lnTo>
                  <a:pt x="830261" y="6219065"/>
                </a:lnTo>
                <a:lnTo>
                  <a:pt x="830261" y="6178031"/>
                </a:lnTo>
                <a:lnTo>
                  <a:pt x="781009" y="6178031"/>
                </a:lnTo>
                <a:lnTo>
                  <a:pt x="781009" y="6147251"/>
                </a:lnTo>
                <a:lnTo>
                  <a:pt x="830261" y="6147251"/>
                </a:lnTo>
                <a:lnTo>
                  <a:pt x="830261" y="6106213"/>
                </a:lnTo>
                <a:close/>
                <a:moveTo>
                  <a:pt x="3802396" y="6068975"/>
                </a:moveTo>
                <a:lnTo>
                  <a:pt x="3802396" y="6102379"/>
                </a:lnTo>
                <a:lnTo>
                  <a:pt x="3835481" y="6102379"/>
                </a:lnTo>
                <a:lnTo>
                  <a:pt x="3835481" y="6068975"/>
                </a:lnTo>
                <a:close/>
                <a:moveTo>
                  <a:pt x="842572" y="6042596"/>
                </a:moveTo>
                <a:lnTo>
                  <a:pt x="842572" y="6219054"/>
                </a:lnTo>
                <a:lnTo>
                  <a:pt x="953399" y="6219054"/>
                </a:lnTo>
                <a:lnTo>
                  <a:pt x="953399" y="6106202"/>
                </a:lnTo>
                <a:lnTo>
                  <a:pt x="883619" y="6106202"/>
                </a:lnTo>
                <a:lnTo>
                  <a:pt x="883619" y="6042596"/>
                </a:lnTo>
                <a:close/>
                <a:moveTo>
                  <a:pt x="2979149" y="6023573"/>
                </a:moveTo>
                <a:lnTo>
                  <a:pt x="2987258" y="6023573"/>
                </a:lnTo>
                <a:lnTo>
                  <a:pt x="2987258" y="6028762"/>
                </a:lnTo>
                <a:cubicBezTo>
                  <a:pt x="2987258" y="6053085"/>
                  <a:pt x="2970067" y="6080974"/>
                  <a:pt x="2943468" y="6080974"/>
                </a:cubicBezTo>
                <a:cubicBezTo>
                  <a:pt x="2923029" y="6080974"/>
                  <a:pt x="2912656" y="6068005"/>
                  <a:pt x="2912656" y="6054708"/>
                </a:cubicBezTo>
                <a:cubicBezTo>
                  <a:pt x="2912656" y="6025196"/>
                  <a:pt x="2955464" y="6023573"/>
                  <a:pt x="2979149" y="6023573"/>
                </a:cubicBezTo>
                <a:close/>
                <a:moveTo>
                  <a:pt x="2790699" y="5961955"/>
                </a:moveTo>
                <a:cubicBezTo>
                  <a:pt x="2817947" y="5961955"/>
                  <a:pt x="2837087" y="5984982"/>
                  <a:pt x="2837087" y="6020654"/>
                </a:cubicBezTo>
                <a:cubicBezTo>
                  <a:pt x="2837087" y="6057949"/>
                  <a:pt x="2815674" y="6079354"/>
                  <a:pt x="2789732" y="6079354"/>
                </a:cubicBezTo>
                <a:cubicBezTo>
                  <a:pt x="2759562" y="6079354"/>
                  <a:pt x="2743344" y="6050166"/>
                  <a:pt x="2743344" y="6020979"/>
                </a:cubicBezTo>
                <a:cubicBezTo>
                  <a:pt x="2743344" y="5979143"/>
                  <a:pt x="2766047" y="5961955"/>
                  <a:pt x="2790699" y="5961955"/>
                </a:cubicBezTo>
                <a:close/>
                <a:moveTo>
                  <a:pt x="3285066" y="5959362"/>
                </a:moveTo>
                <a:cubicBezTo>
                  <a:pt x="3306153" y="5959362"/>
                  <a:pt x="3323671" y="5972980"/>
                  <a:pt x="3324644" y="6001198"/>
                </a:cubicBezTo>
                <a:lnTo>
                  <a:pt x="3237062" y="6001198"/>
                </a:lnTo>
                <a:cubicBezTo>
                  <a:pt x="3241608" y="5974279"/>
                  <a:pt x="3261065" y="5959362"/>
                  <a:pt x="3285066" y="5959362"/>
                </a:cubicBezTo>
                <a:close/>
                <a:moveTo>
                  <a:pt x="2389939" y="5949632"/>
                </a:moveTo>
                <a:cubicBezTo>
                  <a:pt x="2423024" y="5949632"/>
                  <a:pt x="2446377" y="5977521"/>
                  <a:pt x="2446377" y="6021305"/>
                </a:cubicBezTo>
                <a:cubicBezTo>
                  <a:pt x="2446377" y="6066707"/>
                  <a:pt x="2420427" y="6092976"/>
                  <a:pt x="2388641" y="6092976"/>
                </a:cubicBezTo>
                <a:cubicBezTo>
                  <a:pt x="2350687" y="6092976"/>
                  <a:pt x="2332204" y="6057626"/>
                  <a:pt x="2332204" y="6021629"/>
                </a:cubicBezTo>
                <a:cubicBezTo>
                  <a:pt x="2332204" y="5970712"/>
                  <a:pt x="2360094" y="5949632"/>
                  <a:pt x="2389939" y="5949632"/>
                </a:cubicBezTo>
                <a:close/>
                <a:moveTo>
                  <a:pt x="2115219" y="5949632"/>
                </a:moveTo>
                <a:cubicBezTo>
                  <a:pt x="2153168" y="5949632"/>
                  <a:pt x="2171660" y="5984983"/>
                  <a:pt x="2171660" y="6020980"/>
                </a:cubicBezTo>
                <a:cubicBezTo>
                  <a:pt x="2171660" y="6071896"/>
                  <a:pt x="2143761" y="6092976"/>
                  <a:pt x="2113920" y="6092976"/>
                </a:cubicBezTo>
                <a:cubicBezTo>
                  <a:pt x="2080833" y="6092976"/>
                  <a:pt x="2057481" y="6065084"/>
                  <a:pt x="2057481" y="6021305"/>
                </a:cubicBezTo>
                <a:cubicBezTo>
                  <a:pt x="2057481" y="5975902"/>
                  <a:pt x="2083427" y="5949632"/>
                  <a:pt x="2115219" y="5949632"/>
                </a:cubicBezTo>
                <a:close/>
                <a:moveTo>
                  <a:pt x="1641577" y="5949632"/>
                </a:moveTo>
                <a:cubicBezTo>
                  <a:pt x="1674661" y="5949632"/>
                  <a:pt x="1698014" y="5977521"/>
                  <a:pt x="1698014" y="6021304"/>
                </a:cubicBezTo>
                <a:cubicBezTo>
                  <a:pt x="1698014" y="6066706"/>
                  <a:pt x="1672064" y="6092976"/>
                  <a:pt x="1640278" y="6092976"/>
                </a:cubicBezTo>
                <a:cubicBezTo>
                  <a:pt x="1603947" y="6092976"/>
                  <a:pt x="1583842" y="6057625"/>
                  <a:pt x="1583842" y="6021628"/>
                </a:cubicBezTo>
                <a:cubicBezTo>
                  <a:pt x="1583842" y="5970712"/>
                  <a:pt x="1611732" y="5949632"/>
                  <a:pt x="1641577" y="5949632"/>
                </a:cubicBezTo>
                <a:close/>
                <a:moveTo>
                  <a:pt x="1954957" y="5948983"/>
                </a:moveTo>
                <a:cubicBezTo>
                  <a:pt x="1981876" y="5948983"/>
                  <a:pt x="2005557" y="5966821"/>
                  <a:pt x="2007177" y="6006384"/>
                </a:cubicBezTo>
                <a:lnTo>
                  <a:pt x="1891706" y="6006384"/>
                </a:lnTo>
                <a:cubicBezTo>
                  <a:pt x="1897546" y="5968444"/>
                  <a:pt x="1925116" y="5948983"/>
                  <a:pt x="1954957" y="5948983"/>
                </a:cubicBezTo>
                <a:close/>
                <a:moveTo>
                  <a:pt x="2464407" y="5940226"/>
                </a:moveTo>
                <a:lnTo>
                  <a:pt x="2531550" y="6101405"/>
                </a:lnTo>
                <a:lnTo>
                  <a:pt x="2519870" y="6128324"/>
                </a:lnTo>
                <a:cubicBezTo>
                  <a:pt x="2513384" y="6143564"/>
                  <a:pt x="2503652" y="6157511"/>
                  <a:pt x="2488084" y="6157511"/>
                </a:cubicBezTo>
                <a:cubicBezTo>
                  <a:pt x="2480726" y="6157103"/>
                  <a:pt x="2473686" y="6154379"/>
                  <a:pt x="2467970" y="6149728"/>
                </a:cubicBezTo>
                <a:lnTo>
                  <a:pt x="2461809" y="6161402"/>
                </a:lnTo>
                <a:cubicBezTo>
                  <a:pt x="2469354" y="6167192"/>
                  <a:pt x="2478573" y="6170379"/>
                  <a:pt x="2488084" y="6170485"/>
                </a:cubicBezTo>
                <a:cubicBezTo>
                  <a:pt x="2508514" y="6170485"/>
                  <a:pt x="2522142" y="6157186"/>
                  <a:pt x="2529277" y="6140322"/>
                </a:cubicBezTo>
                <a:lnTo>
                  <a:pt x="2612638" y="5940226"/>
                </a:lnTo>
                <a:lnTo>
                  <a:pt x="2598044" y="5940226"/>
                </a:lnTo>
                <a:lnTo>
                  <a:pt x="2544521" y="6069624"/>
                </a:lnTo>
                <a:cubicBezTo>
                  <a:pt x="2541274" y="6077407"/>
                  <a:pt x="2539009" y="6084865"/>
                  <a:pt x="2539009" y="6084865"/>
                </a:cubicBezTo>
                <a:lnTo>
                  <a:pt x="2538360" y="6084865"/>
                </a:lnTo>
                <a:cubicBezTo>
                  <a:pt x="2538360" y="6084865"/>
                  <a:pt x="2535763" y="6077407"/>
                  <a:pt x="2532516" y="6069624"/>
                </a:cubicBezTo>
                <a:lnTo>
                  <a:pt x="2479001" y="5940226"/>
                </a:lnTo>
                <a:close/>
                <a:moveTo>
                  <a:pt x="1744846" y="5940226"/>
                </a:moveTo>
                <a:lnTo>
                  <a:pt x="1744846" y="6102378"/>
                </a:lnTo>
                <a:lnTo>
                  <a:pt x="1758470" y="6102378"/>
                </a:lnTo>
                <a:lnTo>
                  <a:pt x="1758470" y="5940226"/>
                </a:lnTo>
                <a:close/>
                <a:moveTo>
                  <a:pt x="1864854" y="5938932"/>
                </a:moveTo>
                <a:cubicBezTo>
                  <a:pt x="1839229" y="5938932"/>
                  <a:pt x="1821064" y="5959362"/>
                  <a:pt x="1812955" y="5984334"/>
                </a:cubicBezTo>
                <a:lnTo>
                  <a:pt x="1812306" y="5984334"/>
                </a:lnTo>
                <a:cubicBezTo>
                  <a:pt x="1813174" y="5979955"/>
                  <a:pt x="1813609" y="5975501"/>
                  <a:pt x="1813604" y="5971037"/>
                </a:cubicBezTo>
                <a:lnTo>
                  <a:pt x="1813604" y="5940226"/>
                </a:lnTo>
                <a:lnTo>
                  <a:pt x="1799984" y="5940226"/>
                </a:lnTo>
                <a:lnTo>
                  <a:pt x="1799984" y="6102378"/>
                </a:lnTo>
                <a:lnTo>
                  <a:pt x="1813604" y="6102378"/>
                </a:lnTo>
                <a:lnTo>
                  <a:pt x="1813604" y="6032329"/>
                </a:lnTo>
                <a:cubicBezTo>
                  <a:pt x="1813514" y="6020799"/>
                  <a:pt x="1815154" y="6009320"/>
                  <a:pt x="1818470" y="5998276"/>
                </a:cubicBezTo>
                <a:cubicBezTo>
                  <a:pt x="1825609" y="5974279"/>
                  <a:pt x="1841502" y="5952874"/>
                  <a:pt x="1866802" y="5952874"/>
                </a:cubicBezTo>
                <a:cubicBezTo>
                  <a:pt x="1869301" y="5952914"/>
                  <a:pt x="1871794" y="5953131"/>
                  <a:pt x="1874262" y="5953523"/>
                </a:cubicBezTo>
                <a:lnTo>
                  <a:pt x="1874262" y="5939902"/>
                </a:lnTo>
                <a:cubicBezTo>
                  <a:pt x="1871162" y="5939288"/>
                  <a:pt x="1868013" y="5938964"/>
                  <a:pt x="1864854" y="5938932"/>
                </a:cubicBezTo>
                <a:close/>
                <a:moveTo>
                  <a:pt x="3147319" y="5938282"/>
                </a:moveTo>
                <a:lnTo>
                  <a:pt x="3147319" y="6102378"/>
                </a:lnTo>
                <a:lnTo>
                  <a:pt x="3178780" y="6102378"/>
                </a:lnTo>
                <a:lnTo>
                  <a:pt x="3178780" y="5938282"/>
                </a:lnTo>
                <a:close/>
                <a:moveTo>
                  <a:pt x="1955281" y="5936335"/>
                </a:moveTo>
                <a:cubicBezTo>
                  <a:pt x="1913763" y="5936335"/>
                  <a:pt x="1876463" y="5966821"/>
                  <a:pt x="1876463" y="6021629"/>
                </a:cubicBezTo>
                <a:cubicBezTo>
                  <a:pt x="1876463" y="6073190"/>
                  <a:pt x="1914410" y="6106269"/>
                  <a:pt x="1960147" y="6106269"/>
                </a:cubicBezTo>
                <a:cubicBezTo>
                  <a:pt x="1981462" y="6106017"/>
                  <a:pt x="2001966" y="6098070"/>
                  <a:pt x="2017884" y="6083895"/>
                </a:cubicBezTo>
                <a:lnTo>
                  <a:pt x="2010424" y="6072541"/>
                </a:lnTo>
                <a:cubicBezTo>
                  <a:pt x="1996890" y="6085523"/>
                  <a:pt x="1978902" y="6092834"/>
                  <a:pt x="1960147" y="6092976"/>
                </a:cubicBezTo>
                <a:cubicBezTo>
                  <a:pt x="1922522" y="6092976"/>
                  <a:pt x="1890731" y="6066057"/>
                  <a:pt x="1890731" y="6019031"/>
                </a:cubicBezTo>
                <a:lnTo>
                  <a:pt x="2020802" y="6019031"/>
                </a:lnTo>
                <a:cubicBezTo>
                  <a:pt x="2020802" y="6019031"/>
                  <a:pt x="2021451" y="6013846"/>
                  <a:pt x="2021451" y="6010275"/>
                </a:cubicBezTo>
                <a:cubicBezTo>
                  <a:pt x="2021451" y="5971037"/>
                  <a:pt x="1999394" y="5936335"/>
                  <a:pt x="1955281" y="5936335"/>
                </a:cubicBezTo>
                <a:close/>
                <a:moveTo>
                  <a:pt x="1642226" y="5936335"/>
                </a:moveTo>
                <a:cubicBezTo>
                  <a:pt x="1597137" y="5936335"/>
                  <a:pt x="1583842" y="5972656"/>
                  <a:pt x="1583842" y="5972656"/>
                </a:cubicBezTo>
                <a:lnTo>
                  <a:pt x="1583192" y="5972655"/>
                </a:lnTo>
                <a:cubicBezTo>
                  <a:pt x="1583857" y="5968365"/>
                  <a:pt x="1584183" y="5964029"/>
                  <a:pt x="1584166" y="5959687"/>
                </a:cubicBezTo>
                <a:lnTo>
                  <a:pt x="1584166" y="5940226"/>
                </a:lnTo>
                <a:lnTo>
                  <a:pt x="1570538" y="5940226"/>
                </a:lnTo>
                <a:lnTo>
                  <a:pt x="1570538" y="6167243"/>
                </a:lnTo>
                <a:lnTo>
                  <a:pt x="1584166" y="6167243"/>
                </a:lnTo>
                <a:lnTo>
                  <a:pt x="1584166" y="6083895"/>
                </a:lnTo>
                <a:cubicBezTo>
                  <a:pt x="1584206" y="6079107"/>
                  <a:pt x="1583771" y="6074326"/>
                  <a:pt x="1582867" y="6069624"/>
                </a:cubicBezTo>
                <a:lnTo>
                  <a:pt x="1583517" y="6069624"/>
                </a:lnTo>
                <a:cubicBezTo>
                  <a:pt x="1593528" y="6091984"/>
                  <a:pt x="1615776" y="6106348"/>
                  <a:pt x="1640279" y="6106269"/>
                </a:cubicBezTo>
                <a:cubicBezTo>
                  <a:pt x="1682121" y="6106269"/>
                  <a:pt x="1712284" y="6072866"/>
                  <a:pt x="1712284" y="6021304"/>
                </a:cubicBezTo>
                <a:cubicBezTo>
                  <a:pt x="1712284" y="5971037"/>
                  <a:pt x="1685689" y="5936335"/>
                  <a:pt x="1642226" y="5936335"/>
                </a:cubicBezTo>
                <a:close/>
                <a:moveTo>
                  <a:pt x="1489846" y="5936335"/>
                </a:moveTo>
                <a:cubicBezTo>
                  <a:pt x="1462277" y="5936335"/>
                  <a:pt x="1437951" y="5951255"/>
                  <a:pt x="1437951" y="5980118"/>
                </a:cubicBezTo>
                <a:cubicBezTo>
                  <a:pt x="1437951" y="6032978"/>
                  <a:pt x="1527151" y="6021304"/>
                  <a:pt x="1527151" y="6062490"/>
                </a:cubicBezTo>
                <a:cubicBezTo>
                  <a:pt x="1527151" y="6082596"/>
                  <a:pt x="1509635" y="6092976"/>
                  <a:pt x="1489846" y="6092977"/>
                </a:cubicBezTo>
                <a:cubicBezTo>
                  <a:pt x="1471034" y="6093132"/>
                  <a:pt x="1452938" y="6085776"/>
                  <a:pt x="1439570" y="6072541"/>
                </a:cubicBezTo>
                <a:lnTo>
                  <a:pt x="1430812" y="6082921"/>
                </a:lnTo>
                <a:cubicBezTo>
                  <a:pt x="1430812" y="6082921"/>
                  <a:pt x="1450276" y="6106269"/>
                  <a:pt x="1489522" y="6106269"/>
                </a:cubicBezTo>
                <a:cubicBezTo>
                  <a:pt x="1519363" y="6106269"/>
                  <a:pt x="1541421" y="6088435"/>
                  <a:pt x="1541421" y="6062490"/>
                </a:cubicBezTo>
                <a:cubicBezTo>
                  <a:pt x="1541421" y="6008656"/>
                  <a:pt x="1452224" y="6021304"/>
                  <a:pt x="1452224" y="5979144"/>
                </a:cubicBezTo>
                <a:cubicBezTo>
                  <a:pt x="1452224" y="5958064"/>
                  <a:pt x="1470386" y="5949632"/>
                  <a:pt x="1488872" y="5949632"/>
                </a:cubicBezTo>
                <a:cubicBezTo>
                  <a:pt x="1516445" y="5949632"/>
                  <a:pt x="1529741" y="5964873"/>
                  <a:pt x="1529741" y="5964873"/>
                </a:cubicBezTo>
                <a:lnTo>
                  <a:pt x="1537850" y="5953848"/>
                </a:lnTo>
                <a:cubicBezTo>
                  <a:pt x="1537850" y="5953848"/>
                  <a:pt x="1522930" y="5936335"/>
                  <a:pt x="1489846" y="5936335"/>
                </a:cubicBezTo>
                <a:close/>
                <a:moveTo>
                  <a:pt x="1352909" y="5936335"/>
                </a:moveTo>
                <a:cubicBezTo>
                  <a:pt x="1322882" y="5936387"/>
                  <a:pt x="1295799" y="5954395"/>
                  <a:pt x="1284142" y="5982062"/>
                </a:cubicBezTo>
                <a:lnTo>
                  <a:pt x="1283493" y="5982062"/>
                </a:lnTo>
                <a:cubicBezTo>
                  <a:pt x="1284361" y="5977683"/>
                  <a:pt x="1284796" y="5973229"/>
                  <a:pt x="1284791" y="5968765"/>
                </a:cubicBezTo>
                <a:lnTo>
                  <a:pt x="1284791" y="5940226"/>
                </a:lnTo>
                <a:lnTo>
                  <a:pt x="1271171" y="5940226"/>
                </a:lnTo>
                <a:lnTo>
                  <a:pt x="1271171" y="6102378"/>
                </a:lnTo>
                <a:lnTo>
                  <a:pt x="1284791" y="6102378"/>
                </a:lnTo>
                <a:lnTo>
                  <a:pt x="1284791" y="6023248"/>
                </a:lnTo>
                <a:cubicBezTo>
                  <a:pt x="1284635" y="6015814"/>
                  <a:pt x="1285509" y="6008393"/>
                  <a:pt x="1287389" y="6001199"/>
                </a:cubicBezTo>
                <a:cubicBezTo>
                  <a:pt x="1295125" y="5971221"/>
                  <a:pt x="1321947" y="5950111"/>
                  <a:pt x="1352909" y="5949632"/>
                </a:cubicBezTo>
                <a:cubicBezTo>
                  <a:pt x="1389235" y="5949632"/>
                  <a:pt x="1392802" y="5976227"/>
                  <a:pt x="1392802" y="6004440"/>
                </a:cubicBezTo>
                <a:lnTo>
                  <a:pt x="1392802" y="6102379"/>
                </a:lnTo>
                <a:lnTo>
                  <a:pt x="1406426" y="6102379"/>
                </a:lnTo>
                <a:lnTo>
                  <a:pt x="1406426" y="5999575"/>
                </a:lnTo>
                <a:cubicBezTo>
                  <a:pt x="1406426" y="5961306"/>
                  <a:pt x="1395076" y="5936335"/>
                  <a:pt x="1352909" y="5936335"/>
                </a:cubicBezTo>
                <a:close/>
                <a:moveTo>
                  <a:pt x="3474783" y="5934392"/>
                </a:moveTo>
                <a:cubicBezTo>
                  <a:pt x="3448647" y="5933795"/>
                  <a:pt x="3424564" y="5948494"/>
                  <a:pt x="3413151" y="5972011"/>
                </a:cubicBezTo>
                <a:lnTo>
                  <a:pt x="3412502" y="5972011"/>
                </a:lnTo>
                <a:cubicBezTo>
                  <a:pt x="3412928" y="5968025"/>
                  <a:pt x="3413144" y="5964020"/>
                  <a:pt x="3413151" y="5960012"/>
                </a:cubicBezTo>
                <a:lnTo>
                  <a:pt x="3413151" y="5938282"/>
                </a:lnTo>
                <a:lnTo>
                  <a:pt x="3382664" y="5938282"/>
                </a:lnTo>
                <a:lnTo>
                  <a:pt x="3382664" y="6102378"/>
                </a:lnTo>
                <a:lnTo>
                  <a:pt x="3414125" y="6102378"/>
                </a:lnTo>
                <a:lnTo>
                  <a:pt x="3414125" y="6025520"/>
                </a:lnTo>
                <a:cubicBezTo>
                  <a:pt x="3413930" y="6018083"/>
                  <a:pt x="3414804" y="6010655"/>
                  <a:pt x="3416723" y="6003466"/>
                </a:cubicBezTo>
                <a:cubicBezTo>
                  <a:pt x="3422869" y="5979829"/>
                  <a:pt x="3444187" y="5963309"/>
                  <a:pt x="3468615" y="5963254"/>
                </a:cubicBezTo>
                <a:cubicBezTo>
                  <a:pt x="3494890" y="5963254"/>
                  <a:pt x="3499759" y="5981413"/>
                  <a:pt x="3499759" y="6004440"/>
                </a:cubicBezTo>
                <a:lnTo>
                  <a:pt x="3499759" y="6102378"/>
                </a:lnTo>
                <a:lnTo>
                  <a:pt x="3531220" y="6102378"/>
                </a:lnTo>
                <a:lnTo>
                  <a:pt x="3531220" y="5997307"/>
                </a:lnTo>
                <a:cubicBezTo>
                  <a:pt x="3531220" y="5955472"/>
                  <a:pt x="3513380" y="5934391"/>
                  <a:pt x="3474783" y="5934392"/>
                </a:cubicBezTo>
                <a:close/>
                <a:moveTo>
                  <a:pt x="3717650" y="5934391"/>
                </a:moveTo>
                <a:cubicBezTo>
                  <a:pt x="3684891" y="5934391"/>
                  <a:pt x="3658292" y="5951255"/>
                  <a:pt x="3658292" y="5981088"/>
                </a:cubicBezTo>
                <a:cubicBezTo>
                  <a:pt x="3658292" y="6034601"/>
                  <a:pt x="3742624" y="6028438"/>
                  <a:pt x="3742624" y="6058599"/>
                </a:cubicBezTo>
                <a:cubicBezTo>
                  <a:pt x="3742624" y="6071896"/>
                  <a:pt x="3728997" y="6079030"/>
                  <a:pt x="3715378" y="6079030"/>
                </a:cubicBezTo>
                <a:cubicBezTo>
                  <a:pt x="3697865" y="6078722"/>
                  <a:pt x="3681098" y="6071899"/>
                  <a:pt x="3668348" y="6059893"/>
                </a:cubicBezTo>
                <a:lnTo>
                  <a:pt x="3653097" y="6082272"/>
                </a:lnTo>
                <a:cubicBezTo>
                  <a:pt x="3669915" y="6098114"/>
                  <a:pt x="3692275" y="6106730"/>
                  <a:pt x="3715378" y="6106270"/>
                </a:cubicBezTo>
                <a:cubicBezTo>
                  <a:pt x="3751384" y="6106270"/>
                  <a:pt x="3774736" y="6085838"/>
                  <a:pt x="3774736" y="6058599"/>
                </a:cubicBezTo>
                <a:cubicBezTo>
                  <a:pt x="3774736" y="6004764"/>
                  <a:pt x="3690402" y="6011249"/>
                  <a:pt x="3690402" y="5981737"/>
                </a:cubicBezTo>
                <a:cubicBezTo>
                  <a:pt x="3690402" y="5967469"/>
                  <a:pt x="3703698" y="5961631"/>
                  <a:pt x="3717325" y="5961631"/>
                </a:cubicBezTo>
                <a:cubicBezTo>
                  <a:pt x="3732180" y="5961313"/>
                  <a:pt x="3746626" y="5966513"/>
                  <a:pt x="3757869" y="5976226"/>
                </a:cubicBezTo>
                <a:lnTo>
                  <a:pt x="3770514" y="5952550"/>
                </a:lnTo>
                <a:cubicBezTo>
                  <a:pt x="3770514" y="5952550"/>
                  <a:pt x="3753648" y="5934391"/>
                  <a:pt x="3717650" y="5934391"/>
                </a:cubicBezTo>
                <a:close/>
                <a:moveTo>
                  <a:pt x="3285715" y="5934391"/>
                </a:moveTo>
                <a:cubicBezTo>
                  <a:pt x="3239010" y="5934391"/>
                  <a:pt x="3203653" y="5968119"/>
                  <a:pt x="3203653" y="6020331"/>
                </a:cubicBezTo>
                <a:cubicBezTo>
                  <a:pt x="3203653" y="6068975"/>
                  <a:pt x="3239010" y="6106270"/>
                  <a:pt x="3290585" y="6106270"/>
                </a:cubicBezTo>
                <a:cubicBezTo>
                  <a:pt x="3313882" y="6106314"/>
                  <a:pt x="3336429" y="6098034"/>
                  <a:pt x="3354158" y="6082921"/>
                </a:cubicBezTo>
                <a:lnTo>
                  <a:pt x="3341187" y="6059893"/>
                </a:lnTo>
                <a:cubicBezTo>
                  <a:pt x="3327640" y="6071661"/>
                  <a:pt x="3310460" y="6078417"/>
                  <a:pt x="3292526" y="6079030"/>
                </a:cubicBezTo>
                <a:cubicBezTo>
                  <a:pt x="3263337" y="6079030"/>
                  <a:pt x="3237712" y="6060868"/>
                  <a:pt x="3236088" y="6024871"/>
                </a:cubicBezTo>
                <a:lnTo>
                  <a:pt x="3355781" y="6024871"/>
                </a:lnTo>
                <a:cubicBezTo>
                  <a:pt x="3355781" y="6024871"/>
                  <a:pt x="3356754" y="6015465"/>
                  <a:pt x="3356754" y="6011249"/>
                </a:cubicBezTo>
                <a:cubicBezTo>
                  <a:pt x="3356754" y="5968764"/>
                  <a:pt x="3332103" y="5934391"/>
                  <a:pt x="3285715" y="5934391"/>
                </a:cubicBezTo>
                <a:close/>
                <a:moveTo>
                  <a:pt x="2953524" y="5934391"/>
                </a:moveTo>
                <a:cubicBezTo>
                  <a:pt x="2931535" y="5934165"/>
                  <a:pt x="2910051" y="5940983"/>
                  <a:pt x="2892217" y="5953848"/>
                </a:cubicBezTo>
                <a:lnTo>
                  <a:pt x="2905189" y="5976872"/>
                </a:lnTo>
                <a:cubicBezTo>
                  <a:pt x="2918524" y="5967162"/>
                  <a:pt x="2934443" y="5961631"/>
                  <a:pt x="2950927" y="5960982"/>
                </a:cubicBezTo>
                <a:cubicBezTo>
                  <a:pt x="2971682" y="5960982"/>
                  <a:pt x="2986934" y="5970063"/>
                  <a:pt x="2986934" y="5996982"/>
                </a:cubicBezTo>
                <a:lnTo>
                  <a:pt x="2986934" y="5999900"/>
                </a:lnTo>
                <a:lnTo>
                  <a:pt x="2979791" y="5999900"/>
                </a:lnTo>
                <a:cubicBezTo>
                  <a:pt x="2952226" y="5999900"/>
                  <a:pt x="2880862" y="6002169"/>
                  <a:pt x="2880862" y="6056327"/>
                </a:cubicBezTo>
                <a:cubicBezTo>
                  <a:pt x="2880862" y="6089081"/>
                  <a:pt x="2908435" y="6106270"/>
                  <a:pt x="2936658" y="6106270"/>
                </a:cubicBezTo>
                <a:cubicBezTo>
                  <a:pt x="2959034" y="6106761"/>
                  <a:pt x="2979611" y="6094061"/>
                  <a:pt x="2989199" y="6073840"/>
                </a:cubicBezTo>
                <a:lnTo>
                  <a:pt x="2989847" y="6073840"/>
                </a:lnTo>
                <a:cubicBezTo>
                  <a:pt x="2989403" y="6078150"/>
                  <a:pt x="2989187" y="6082480"/>
                  <a:pt x="2989199" y="6086813"/>
                </a:cubicBezTo>
                <a:lnTo>
                  <a:pt x="2989199" y="6102379"/>
                </a:lnTo>
                <a:lnTo>
                  <a:pt x="3018394" y="6102379"/>
                </a:lnTo>
                <a:lnTo>
                  <a:pt x="3018394" y="5998601"/>
                </a:lnTo>
                <a:cubicBezTo>
                  <a:pt x="3018394" y="5957091"/>
                  <a:pt x="2995043" y="5934391"/>
                  <a:pt x="2953524" y="5934391"/>
                </a:cubicBezTo>
                <a:close/>
                <a:moveTo>
                  <a:pt x="2796867" y="5934391"/>
                </a:moveTo>
                <a:cubicBezTo>
                  <a:pt x="2755674" y="5934391"/>
                  <a:pt x="2741721" y="5964227"/>
                  <a:pt x="2741721" y="5964227"/>
                </a:cubicBezTo>
                <a:lnTo>
                  <a:pt x="2741072" y="5964227"/>
                </a:lnTo>
                <a:cubicBezTo>
                  <a:pt x="2741497" y="5960240"/>
                  <a:pt x="2741714" y="5956234"/>
                  <a:pt x="2741721" y="5952224"/>
                </a:cubicBezTo>
                <a:lnTo>
                  <a:pt x="2741721" y="5938282"/>
                </a:lnTo>
                <a:lnTo>
                  <a:pt x="2712857" y="5938282"/>
                </a:lnTo>
                <a:lnTo>
                  <a:pt x="2712857" y="6167243"/>
                </a:lnTo>
                <a:lnTo>
                  <a:pt x="2744318" y="6167243"/>
                </a:lnTo>
                <a:lnTo>
                  <a:pt x="2744318" y="6093620"/>
                </a:lnTo>
                <a:cubicBezTo>
                  <a:pt x="2744318" y="6085189"/>
                  <a:pt x="2743669" y="6079354"/>
                  <a:pt x="2743669" y="6079354"/>
                </a:cubicBezTo>
                <a:lnTo>
                  <a:pt x="2744318" y="6079354"/>
                </a:lnTo>
                <a:cubicBezTo>
                  <a:pt x="2755077" y="6096648"/>
                  <a:pt x="2774234" y="6106904"/>
                  <a:pt x="2794595" y="6106269"/>
                </a:cubicBezTo>
                <a:cubicBezTo>
                  <a:pt x="2837411" y="6106269"/>
                  <a:pt x="2868873" y="6072541"/>
                  <a:pt x="2868873" y="6020330"/>
                </a:cubicBezTo>
                <a:cubicBezTo>
                  <a:pt x="2868873" y="5969413"/>
                  <a:pt x="2840975" y="5934391"/>
                  <a:pt x="2796867" y="5934391"/>
                </a:cubicBezTo>
                <a:close/>
                <a:moveTo>
                  <a:pt x="3568802" y="5893205"/>
                </a:moveTo>
                <a:lnTo>
                  <a:pt x="3568802" y="5940551"/>
                </a:lnTo>
                <a:lnTo>
                  <a:pt x="3546424" y="5940551"/>
                </a:lnTo>
                <a:lnTo>
                  <a:pt x="3546424" y="5965847"/>
                </a:lnTo>
                <a:lnTo>
                  <a:pt x="3567829" y="5965847"/>
                </a:lnTo>
                <a:lnTo>
                  <a:pt x="3567829" y="6042385"/>
                </a:lnTo>
                <a:cubicBezTo>
                  <a:pt x="3567829" y="6097188"/>
                  <a:pt x="3609671" y="6103677"/>
                  <a:pt x="3630758" y="6103676"/>
                </a:cubicBezTo>
                <a:cubicBezTo>
                  <a:pt x="3634446" y="6103696"/>
                  <a:pt x="3638131" y="6103479"/>
                  <a:pt x="3641789" y="6103027"/>
                </a:cubicBezTo>
                <a:lnTo>
                  <a:pt x="3641789" y="6075138"/>
                </a:lnTo>
                <a:cubicBezTo>
                  <a:pt x="3639327" y="6075601"/>
                  <a:pt x="3636826" y="6075818"/>
                  <a:pt x="3634322" y="6075788"/>
                </a:cubicBezTo>
                <a:cubicBezTo>
                  <a:pt x="3622324" y="6075788"/>
                  <a:pt x="3599298" y="6071572"/>
                  <a:pt x="3599298" y="6038817"/>
                </a:cubicBezTo>
                <a:lnTo>
                  <a:pt x="3599298" y="5965847"/>
                </a:lnTo>
                <a:lnTo>
                  <a:pt x="3638867" y="5965847"/>
                </a:lnTo>
                <a:lnTo>
                  <a:pt x="3638867" y="5940551"/>
                </a:lnTo>
                <a:lnTo>
                  <a:pt x="3599298" y="5940551"/>
                </a:lnTo>
                <a:lnTo>
                  <a:pt x="3599298" y="5893205"/>
                </a:lnTo>
                <a:close/>
                <a:moveTo>
                  <a:pt x="3055985" y="5893205"/>
                </a:moveTo>
                <a:lnTo>
                  <a:pt x="3055985" y="5940551"/>
                </a:lnTo>
                <a:lnTo>
                  <a:pt x="3033606" y="5940551"/>
                </a:lnTo>
                <a:lnTo>
                  <a:pt x="3033606" y="5965847"/>
                </a:lnTo>
                <a:lnTo>
                  <a:pt x="3055012" y="5965847"/>
                </a:lnTo>
                <a:lnTo>
                  <a:pt x="3055012" y="6042385"/>
                </a:lnTo>
                <a:cubicBezTo>
                  <a:pt x="3055012" y="6097188"/>
                  <a:pt x="3096854" y="6103677"/>
                  <a:pt x="3117934" y="6103676"/>
                </a:cubicBezTo>
                <a:cubicBezTo>
                  <a:pt x="3121620" y="6103697"/>
                  <a:pt x="3125305" y="6103480"/>
                  <a:pt x="3128964" y="6103027"/>
                </a:cubicBezTo>
                <a:lnTo>
                  <a:pt x="3128964" y="6075138"/>
                </a:lnTo>
                <a:cubicBezTo>
                  <a:pt x="3126505" y="6075601"/>
                  <a:pt x="3124007" y="6075818"/>
                  <a:pt x="3121505" y="6075788"/>
                </a:cubicBezTo>
                <a:cubicBezTo>
                  <a:pt x="3109500" y="6075788"/>
                  <a:pt x="3086473" y="6071572"/>
                  <a:pt x="3086473" y="6038817"/>
                </a:cubicBezTo>
                <a:lnTo>
                  <a:pt x="3086473" y="5965847"/>
                </a:lnTo>
                <a:lnTo>
                  <a:pt x="3126043" y="5965847"/>
                </a:lnTo>
                <a:lnTo>
                  <a:pt x="3126043" y="5940551"/>
                </a:lnTo>
                <a:lnTo>
                  <a:pt x="3086473" y="5940551"/>
                </a:lnTo>
                <a:lnTo>
                  <a:pt x="3086473" y="5893205"/>
                </a:lnTo>
                <a:close/>
                <a:moveTo>
                  <a:pt x="2318901" y="5875367"/>
                </a:moveTo>
                <a:lnTo>
                  <a:pt x="2318901" y="6102378"/>
                </a:lnTo>
                <a:lnTo>
                  <a:pt x="2332529" y="6102378"/>
                </a:lnTo>
                <a:lnTo>
                  <a:pt x="2332529" y="6083895"/>
                </a:lnTo>
                <a:cubicBezTo>
                  <a:pt x="2332569" y="6079107"/>
                  <a:pt x="2332134" y="6074326"/>
                  <a:pt x="2331230" y="6069624"/>
                </a:cubicBezTo>
                <a:lnTo>
                  <a:pt x="2331880" y="6069624"/>
                </a:lnTo>
                <a:cubicBezTo>
                  <a:pt x="2331880" y="6069624"/>
                  <a:pt x="2347123" y="6106270"/>
                  <a:pt x="2387992" y="6106270"/>
                </a:cubicBezTo>
                <a:cubicBezTo>
                  <a:pt x="2430484" y="6106270"/>
                  <a:pt x="2460646" y="6072866"/>
                  <a:pt x="2460646" y="6021305"/>
                </a:cubicBezTo>
                <a:cubicBezTo>
                  <a:pt x="2460646" y="5971037"/>
                  <a:pt x="2434048" y="5936335"/>
                  <a:pt x="2390589" y="5936335"/>
                </a:cubicBezTo>
                <a:cubicBezTo>
                  <a:pt x="2365391" y="5935491"/>
                  <a:pt x="2342186" y="5949974"/>
                  <a:pt x="2331880" y="5972980"/>
                </a:cubicBezTo>
                <a:lnTo>
                  <a:pt x="2331230" y="5972980"/>
                </a:lnTo>
                <a:cubicBezTo>
                  <a:pt x="2332099" y="5968603"/>
                  <a:pt x="2332534" y="5964150"/>
                  <a:pt x="2332529" y="5959687"/>
                </a:cubicBezTo>
                <a:lnTo>
                  <a:pt x="2332529" y="5875367"/>
                </a:lnTo>
                <a:close/>
                <a:moveTo>
                  <a:pt x="2171335" y="5875367"/>
                </a:moveTo>
                <a:lnTo>
                  <a:pt x="2171335" y="5959687"/>
                </a:lnTo>
                <a:cubicBezTo>
                  <a:pt x="2171330" y="5964150"/>
                  <a:pt x="2171765" y="5968603"/>
                  <a:pt x="2172633" y="5972980"/>
                </a:cubicBezTo>
                <a:lnTo>
                  <a:pt x="2171984" y="5972980"/>
                </a:lnTo>
                <a:cubicBezTo>
                  <a:pt x="2171984" y="5972980"/>
                  <a:pt x="2156732" y="5936335"/>
                  <a:pt x="2115863" y="5936335"/>
                </a:cubicBezTo>
                <a:cubicBezTo>
                  <a:pt x="2073374" y="5936335"/>
                  <a:pt x="2043207" y="5969738"/>
                  <a:pt x="2043207" y="6021305"/>
                </a:cubicBezTo>
                <a:cubicBezTo>
                  <a:pt x="2043207" y="6071572"/>
                  <a:pt x="2069806" y="6106270"/>
                  <a:pt x="2113275" y="6106270"/>
                </a:cubicBezTo>
                <a:cubicBezTo>
                  <a:pt x="2138472" y="6107111"/>
                  <a:pt x="2161675" y="6092628"/>
                  <a:pt x="2171984" y="6069624"/>
                </a:cubicBezTo>
                <a:lnTo>
                  <a:pt x="2172633" y="6069624"/>
                </a:lnTo>
                <a:cubicBezTo>
                  <a:pt x="2171715" y="6073666"/>
                  <a:pt x="2171280" y="6077803"/>
                  <a:pt x="2171335" y="6081948"/>
                </a:cubicBezTo>
                <a:lnTo>
                  <a:pt x="2171335" y="6102378"/>
                </a:lnTo>
                <a:lnTo>
                  <a:pt x="2184955" y="6102378"/>
                </a:lnTo>
                <a:lnTo>
                  <a:pt x="2184955" y="5875367"/>
                </a:lnTo>
                <a:close/>
                <a:moveTo>
                  <a:pt x="1743547" y="5875367"/>
                </a:moveTo>
                <a:lnTo>
                  <a:pt x="1743547" y="5899040"/>
                </a:lnTo>
                <a:lnTo>
                  <a:pt x="1759765" y="5899040"/>
                </a:lnTo>
                <a:lnTo>
                  <a:pt x="1759765" y="5875367"/>
                </a:lnTo>
                <a:close/>
                <a:moveTo>
                  <a:pt x="1209673" y="5875367"/>
                </a:moveTo>
                <a:lnTo>
                  <a:pt x="1209673" y="6102378"/>
                </a:lnTo>
                <a:lnTo>
                  <a:pt x="1223622" y="6102378"/>
                </a:lnTo>
                <a:lnTo>
                  <a:pt x="1223622" y="5875367"/>
                </a:lnTo>
                <a:close/>
                <a:moveTo>
                  <a:pt x="740045" y="5875367"/>
                </a:moveTo>
                <a:cubicBezTo>
                  <a:pt x="865045" y="5894885"/>
                  <a:pt x="963105" y="5992926"/>
                  <a:pt x="982628" y="6117904"/>
                </a:cubicBezTo>
                <a:lnTo>
                  <a:pt x="982620" y="5875367"/>
                </a:lnTo>
                <a:close/>
                <a:moveTo>
                  <a:pt x="407989" y="5875366"/>
                </a:moveTo>
                <a:lnTo>
                  <a:pt x="407989" y="6117901"/>
                </a:lnTo>
                <a:cubicBezTo>
                  <a:pt x="427506" y="5992925"/>
                  <a:pt x="525563" y="5894884"/>
                  <a:pt x="650560" y="5875366"/>
                </a:cubicBezTo>
                <a:close/>
                <a:moveTo>
                  <a:pt x="693449" y="5875365"/>
                </a:moveTo>
                <a:lnTo>
                  <a:pt x="693449" y="6106201"/>
                </a:lnTo>
                <a:lnTo>
                  <a:pt x="685251" y="6106201"/>
                </a:lnTo>
                <a:lnTo>
                  <a:pt x="685251" y="6178022"/>
                </a:lnTo>
                <a:lnTo>
                  <a:pt x="655495" y="6178022"/>
                </a:lnTo>
                <a:lnTo>
                  <a:pt x="655495" y="6106201"/>
                </a:lnTo>
                <a:lnTo>
                  <a:pt x="617524" y="6106201"/>
                </a:lnTo>
                <a:lnTo>
                  <a:pt x="617524" y="6219053"/>
                </a:lnTo>
                <a:lnTo>
                  <a:pt x="693449" y="6219053"/>
                </a:lnTo>
                <a:lnTo>
                  <a:pt x="693449" y="6449904"/>
                </a:lnTo>
                <a:lnTo>
                  <a:pt x="697158" y="6449904"/>
                </a:lnTo>
                <a:lnTo>
                  <a:pt x="697158" y="6219053"/>
                </a:lnTo>
                <a:lnTo>
                  <a:pt x="726288" y="6219053"/>
                </a:lnTo>
                <a:lnTo>
                  <a:pt x="726288" y="6106201"/>
                </a:lnTo>
                <a:lnTo>
                  <a:pt x="697158" y="6106201"/>
                </a:lnTo>
                <a:lnTo>
                  <a:pt x="697154" y="5875365"/>
                </a:lnTo>
                <a:close/>
                <a:moveTo>
                  <a:pt x="3146995" y="5873419"/>
                </a:moveTo>
                <a:lnTo>
                  <a:pt x="3146995" y="5905528"/>
                </a:lnTo>
                <a:lnTo>
                  <a:pt x="3178780" y="5905528"/>
                </a:lnTo>
                <a:lnTo>
                  <a:pt x="3178780" y="5873419"/>
                </a:lnTo>
                <a:close/>
                <a:moveTo>
                  <a:pt x="5074981" y="3974428"/>
                </a:moveTo>
                <a:cubicBezTo>
                  <a:pt x="5308980" y="5220716"/>
                  <a:pt x="6284078" y="6195621"/>
                  <a:pt x="7530588" y="6429546"/>
                </a:cubicBezTo>
                <a:lnTo>
                  <a:pt x="5074981" y="6429546"/>
                </a:lnTo>
                <a:close/>
                <a:moveTo>
                  <a:pt x="11122964" y="3974190"/>
                </a:moveTo>
                <a:lnTo>
                  <a:pt x="11122964" y="6429463"/>
                </a:lnTo>
                <a:lnTo>
                  <a:pt x="8666920" y="6429463"/>
                </a:lnTo>
                <a:cubicBezTo>
                  <a:pt x="9913518" y="6195441"/>
                  <a:pt x="10888727" y="5220539"/>
                  <a:pt x="11122964" y="3974190"/>
                </a:cubicBezTo>
                <a:close/>
                <a:moveTo>
                  <a:pt x="5074885" y="3877086"/>
                </a:moveTo>
                <a:lnTo>
                  <a:pt x="5058713" y="3878325"/>
                </a:lnTo>
                <a:lnTo>
                  <a:pt x="5058713" y="6445810"/>
                </a:lnTo>
                <a:lnTo>
                  <a:pt x="7626641" y="6445810"/>
                </a:lnTo>
                <a:lnTo>
                  <a:pt x="7627884" y="6429641"/>
                </a:lnTo>
                <a:cubicBezTo>
                  <a:pt x="6311888" y="6225121"/>
                  <a:pt x="5279443" y="5192853"/>
                  <a:pt x="5074885" y="3877086"/>
                </a:cubicBezTo>
                <a:close/>
                <a:moveTo>
                  <a:pt x="11123059" y="3876995"/>
                </a:moveTo>
                <a:cubicBezTo>
                  <a:pt x="10918269" y="5192805"/>
                  <a:pt x="9885698" y="6225024"/>
                  <a:pt x="8569625" y="6429558"/>
                </a:cubicBezTo>
                <a:lnTo>
                  <a:pt x="8570868" y="6445727"/>
                </a:lnTo>
                <a:lnTo>
                  <a:pt x="11139231" y="6445727"/>
                </a:lnTo>
                <a:lnTo>
                  <a:pt x="11139231" y="3878238"/>
                </a:lnTo>
                <a:close/>
                <a:moveTo>
                  <a:pt x="5074862" y="382592"/>
                </a:moveTo>
                <a:lnTo>
                  <a:pt x="7530485" y="382592"/>
                </a:lnTo>
                <a:cubicBezTo>
                  <a:pt x="6283949" y="616774"/>
                  <a:pt x="5308909" y="1591792"/>
                  <a:pt x="5074862" y="2838143"/>
                </a:cubicBezTo>
                <a:close/>
                <a:moveTo>
                  <a:pt x="8666781" y="382485"/>
                </a:moveTo>
                <a:lnTo>
                  <a:pt x="11122821" y="382485"/>
                </a:lnTo>
                <a:lnTo>
                  <a:pt x="11122821" y="2838196"/>
                </a:lnTo>
                <a:cubicBezTo>
                  <a:pt x="10888566" y="1591774"/>
                  <a:pt x="9913411" y="616748"/>
                  <a:pt x="8666781" y="382485"/>
                </a:cubicBezTo>
                <a:close/>
                <a:moveTo>
                  <a:pt x="5058594" y="366328"/>
                </a:moveTo>
                <a:lnTo>
                  <a:pt x="5058594" y="2934247"/>
                </a:lnTo>
                <a:lnTo>
                  <a:pt x="5074766" y="2935488"/>
                </a:lnTo>
                <a:cubicBezTo>
                  <a:pt x="5279296" y="1619627"/>
                  <a:pt x="6311705" y="587215"/>
                  <a:pt x="7627761" y="382497"/>
                </a:cubicBezTo>
                <a:lnTo>
                  <a:pt x="7626518" y="366328"/>
                </a:lnTo>
                <a:close/>
                <a:moveTo>
                  <a:pt x="8570721" y="366221"/>
                </a:moveTo>
                <a:lnTo>
                  <a:pt x="8569478" y="382390"/>
                </a:lnTo>
                <a:cubicBezTo>
                  <a:pt x="9885660" y="587019"/>
                  <a:pt x="10918248" y="1619427"/>
                  <a:pt x="11122916" y="2935381"/>
                </a:cubicBezTo>
                <a:lnTo>
                  <a:pt x="11139088" y="2934139"/>
                </a:lnTo>
                <a:lnTo>
                  <a:pt x="11139088" y="366221"/>
                </a:lnTo>
                <a:close/>
                <a:moveTo>
                  <a:pt x="0" y="0"/>
                </a:moveTo>
                <a:lnTo>
                  <a:pt x="12191993" y="0"/>
                </a:lnTo>
                <a:lnTo>
                  <a:pt x="12191993" y="6857996"/>
                </a:lnTo>
                <a:lnTo>
                  <a:pt x="0" y="6857996"/>
                </a:lnTo>
                <a:close/>
              </a:path>
            </a:pathLst>
          </a:custGeom>
          <a:solidFill>
            <a:schemeClr val="tx1"/>
          </a:solidFill>
        </p:spPr>
        <p:txBody>
          <a:bodyPr wrap="square">
            <a:noAutofit/>
          </a:bodyPr>
          <a:lstStyle>
            <a:lvl1pPr>
              <a:defRPr>
                <a:solidFill>
                  <a:schemeClr val="bg1"/>
                </a:solidFill>
              </a:defRPr>
            </a:lvl1pPr>
          </a:lstStyle>
          <a:p>
            <a:r>
              <a:rPr lang="zh-CN" altLang="en-US"/>
              <a:t>单击图标添加图片</a:t>
            </a:r>
            <a:endParaRPr lang="en-BE"/>
          </a:p>
        </p:txBody>
      </p:sp>
      <p:sp>
        <p:nvSpPr>
          <p:cNvPr id="2" name="Title 1">
            <a:extLst>
              <a:ext uri="{FF2B5EF4-FFF2-40B4-BE49-F238E27FC236}">
                <a16:creationId xmlns:a16="http://schemas.microsoft.com/office/drawing/2014/main" id="{61ED276C-6DB4-C248-B8F8-A80AC7FEE43B}"/>
              </a:ext>
            </a:extLst>
          </p:cNvPr>
          <p:cNvSpPr>
            <a:spLocks noGrp="1"/>
          </p:cNvSpPr>
          <p:nvPr>
            <p:ph type="ctrTitle"/>
          </p:nvPr>
        </p:nvSpPr>
        <p:spPr>
          <a:xfrm>
            <a:off x="407988" y="2636534"/>
            <a:ext cx="4656381" cy="867930"/>
          </a:xfrm>
        </p:spPr>
        <p:txBody>
          <a:bodyPr wrap="square" rIns="36000" anchor="b">
            <a:spAutoFit/>
          </a:bodyPr>
          <a:lstStyle>
            <a:lvl1pPr algn="l">
              <a:defRPr sz="2800">
                <a:solidFill>
                  <a:schemeClr val="bg1"/>
                </a:solidFill>
                <a:latin typeface="+mj-lt"/>
              </a:defRPr>
            </a:lvl1pPr>
          </a:lstStyle>
          <a:p>
            <a:r>
              <a:rPr lang="zh-CN" altLang="en-US"/>
              <a:t>单击此处编辑母版标题样式</a:t>
            </a:r>
            <a:endParaRPr lang="en-BE"/>
          </a:p>
        </p:txBody>
      </p:sp>
      <p:sp>
        <p:nvSpPr>
          <p:cNvPr id="3" name="Subtitle 2">
            <a:extLst>
              <a:ext uri="{FF2B5EF4-FFF2-40B4-BE49-F238E27FC236}">
                <a16:creationId xmlns:a16="http://schemas.microsoft.com/office/drawing/2014/main" id="{583290F0-62FD-6446-BD33-1B3A80AD042D}"/>
              </a:ext>
            </a:extLst>
          </p:cNvPr>
          <p:cNvSpPr>
            <a:spLocks noGrp="1"/>
          </p:cNvSpPr>
          <p:nvPr>
            <p:ph type="subTitle" idx="1"/>
          </p:nvPr>
        </p:nvSpPr>
        <p:spPr>
          <a:xfrm>
            <a:off x="407988" y="3596539"/>
            <a:ext cx="4656381" cy="313932"/>
          </a:xfrm>
        </p:spPr>
        <p:txBody>
          <a:bodyPr wrap="square" rIns="36000">
            <a:spAutoFit/>
          </a:bodyPr>
          <a:lstStyle>
            <a:lvl1pPr marL="0" indent="0" algn="l">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BE"/>
          </a:p>
        </p:txBody>
      </p:sp>
      <p:sp>
        <p:nvSpPr>
          <p:cNvPr id="10" name="Footer Placeholder 4">
            <a:extLst>
              <a:ext uri="{FF2B5EF4-FFF2-40B4-BE49-F238E27FC236}">
                <a16:creationId xmlns:a16="http://schemas.microsoft.com/office/drawing/2014/main" id="{F3DF0697-75B6-104D-AADC-B7E50CA194E7}"/>
              </a:ext>
            </a:extLst>
          </p:cNvPr>
          <p:cNvSpPr>
            <a:spLocks noGrp="1"/>
          </p:cNvSpPr>
          <p:nvPr>
            <p:ph type="ftr" sz="quarter" idx="3"/>
          </p:nvPr>
        </p:nvSpPr>
        <p:spPr>
          <a:xfrm>
            <a:off x="4538445" y="6547006"/>
            <a:ext cx="7127920" cy="123111"/>
          </a:xfrm>
          <a:prstGeom prst="rect">
            <a:avLst/>
          </a:prstGeom>
        </p:spPr>
        <p:txBody>
          <a:bodyPr vert="horz" wrap="square" lIns="0" tIns="0" rIns="0" bIns="0" rtlCol="0" anchor="b">
            <a:spAutoFit/>
          </a:bodyPr>
          <a:lstStyle>
            <a:lvl1pPr algn="ctr">
              <a:defRPr sz="800">
                <a:solidFill>
                  <a:schemeClr val="bg1"/>
                </a:solidFill>
              </a:defRPr>
            </a:lvl1pPr>
          </a:lstStyle>
          <a:p>
            <a:r>
              <a:rPr lang="en-GB"/>
              <a:t>UCB Team Name [XXXXXXX] - UCB - Approval [XX-XX-XXX] - Approval date [XX Month XXXX] ! GO TO INSERT&gt;HEADER FOOTER to change. </a:t>
            </a:r>
            <a:endParaRPr lang="en-BE"/>
          </a:p>
        </p:txBody>
      </p:sp>
    </p:spTree>
    <p:extLst>
      <p:ext uri="{BB962C8B-B14F-4D97-AF65-F5344CB8AC3E}">
        <p14:creationId xmlns:p14="http://schemas.microsoft.com/office/powerpoint/2010/main" val="1854832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ingle 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5572101"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323467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5598246" y="264598"/>
            <a:ext cx="5399548" cy="480131"/>
          </a:xfrm>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5598246" y="805774"/>
            <a:ext cx="5399548" cy="400110"/>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10" name="Picture Placeholder 47">
            <a:extLst>
              <a:ext uri="{FF2B5EF4-FFF2-40B4-BE49-F238E27FC236}">
                <a16:creationId xmlns:a16="http://schemas.microsoft.com/office/drawing/2014/main" id="{C6681D1E-D330-9E42-B1B1-C48A4D7629F0}"/>
              </a:ext>
            </a:extLst>
          </p:cNvPr>
          <p:cNvSpPr>
            <a:spLocks noGrp="1"/>
          </p:cNvSpPr>
          <p:nvPr>
            <p:ph type="pic" sz="quarter" idx="19"/>
          </p:nvPr>
        </p:nvSpPr>
        <p:spPr>
          <a:xfrm>
            <a:off x="407988" y="336265"/>
            <a:ext cx="4980976" cy="5772435"/>
          </a:xfrm>
          <a:custGeom>
            <a:avLst/>
            <a:gdLst>
              <a:gd name="connsiteX0" fmla="*/ 195256 w 5084529"/>
              <a:gd name="connsiteY0" fmla="*/ 200195 h 5940425"/>
              <a:gd name="connsiteX1" fmla="*/ 830029 w 5084529"/>
              <a:gd name="connsiteY1" fmla="*/ 200195 h 5940425"/>
              <a:gd name="connsiteX2" fmla="*/ 422378 w 5084529"/>
              <a:gd name="connsiteY2" fmla="*/ 432030 h 5940425"/>
              <a:gd name="connsiteX3" fmla="*/ 195383 w 5084529"/>
              <a:gd name="connsiteY3" fmla="*/ 846590 h 5940425"/>
              <a:gd name="connsiteX4" fmla="*/ 182624 w 5084529"/>
              <a:gd name="connsiteY4" fmla="*/ 187362 h 5940425"/>
              <a:gd name="connsiteX5" fmla="*/ 182624 w 5084529"/>
              <a:gd name="connsiteY5" fmla="*/ 913936 h 5940425"/>
              <a:gd name="connsiteX6" fmla="*/ 195320 w 5084529"/>
              <a:gd name="connsiteY6" fmla="*/ 914889 h 5940425"/>
              <a:gd name="connsiteX7" fmla="*/ 431645 w 5084529"/>
              <a:gd name="connsiteY7" fmla="*/ 440799 h 5940425"/>
              <a:gd name="connsiteX8" fmla="*/ 896045 w 5084529"/>
              <a:gd name="connsiteY8" fmla="*/ 200068 h 5940425"/>
              <a:gd name="connsiteX9" fmla="*/ 895029 w 5084529"/>
              <a:gd name="connsiteY9" fmla="*/ 187362 h 5940425"/>
              <a:gd name="connsiteX10" fmla="*/ 0 w 5084529"/>
              <a:gd name="connsiteY10" fmla="*/ 0 h 5940425"/>
              <a:gd name="connsiteX11" fmla="*/ 5084529 w 5084529"/>
              <a:gd name="connsiteY11" fmla="*/ 0 h 5940425"/>
              <a:gd name="connsiteX12" fmla="*/ 5084529 w 5084529"/>
              <a:gd name="connsiteY12" fmla="*/ 5940425 h 5940425"/>
              <a:gd name="connsiteX13" fmla="*/ 0 w 5084529"/>
              <a:gd name="connsiteY13" fmla="*/ 5940425 h 594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4529" h="5940425">
                <a:moveTo>
                  <a:pt x="195256" y="200195"/>
                </a:moveTo>
                <a:lnTo>
                  <a:pt x="830029" y="200195"/>
                </a:lnTo>
                <a:cubicBezTo>
                  <a:pt x="674944" y="237256"/>
                  <a:pt x="533572" y="317656"/>
                  <a:pt x="422378" y="432030"/>
                </a:cubicBezTo>
                <a:cubicBezTo>
                  <a:pt x="309817" y="546511"/>
                  <a:pt x="231233" y="690030"/>
                  <a:pt x="195383" y="846590"/>
                </a:cubicBezTo>
                <a:close/>
                <a:moveTo>
                  <a:pt x="182624" y="187362"/>
                </a:moveTo>
                <a:lnTo>
                  <a:pt x="182624" y="913936"/>
                </a:lnTo>
                <a:lnTo>
                  <a:pt x="195320" y="914889"/>
                </a:lnTo>
                <a:cubicBezTo>
                  <a:pt x="222003" y="735815"/>
                  <a:pt x="304745" y="569827"/>
                  <a:pt x="431645" y="440799"/>
                </a:cubicBezTo>
                <a:cubicBezTo>
                  <a:pt x="556385" y="312431"/>
                  <a:pt x="719320" y="227970"/>
                  <a:pt x="896045" y="200068"/>
                </a:cubicBezTo>
                <a:lnTo>
                  <a:pt x="895029" y="187362"/>
                </a:lnTo>
                <a:close/>
                <a:moveTo>
                  <a:pt x="0" y="0"/>
                </a:moveTo>
                <a:lnTo>
                  <a:pt x="5084529" y="0"/>
                </a:lnTo>
                <a:lnTo>
                  <a:pt x="5084529" y="5940425"/>
                </a:lnTo>
                <a:lnTo>
                  <a:pt x="0" y="5940425"/>
                </a:lnTo>
                <a:close/>
              </a:path>
            </a:pathLst>
          </a:custGeom>
          <a:solidFill>
            <a:schemeClr val="bg2"/>
          </a:solidFill>
        </p:spPr>
        <p:txBody>
          <a:bodyPr wrap="square">
            <a:noAutofit/>
          </a:bodyPr>
          <a:lstStyle>
            <a:lvl1pPr marL="0" indent="0">
              <a:buNone/>
              <a:defRPr/>
            </a:lvl1pPr>
          </a:lstStyle>
          <a:p>
            <a:r>
              <a:rPr lang="zh-CN" altLang="en-US"/>
              <a:t>单击图标添加图片</a:t>
            </a:r>
            <a:endParaRPr lang="en-GB"/>
          </a:p>
        </p:txBody>
      </p:sp>
      <p:sp>
        <p:nvSpPr>
          <p:cNvPr id="11" name="Freeform 5">
            <a:extLst>
              <a:ext uri="{FF2B5EF4-FFF2-40B4-BE49-F238E27FC236}">
                <a16:creationId xmlns:a16="http://schemas.microsoft.com/office/drawing/2014/main" id="{9DBD75DD-0082-5D47-BDDB-BF00387E98E6}"/>
              </a:ext>
            </a:extLst>
          </p:cNvPr>
          <p:cNvSpPr>
            <a:spLocks/>
          </p:cNvSpPr>
          <p:nvPr/>
        </p:nvSpPr>
        <p:spPr bwMode="auto">
          <a:xfrm rot="16200000" flipH="1">
            <a:off x="11248024" y="5405188"/>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Content Placeholder 7">
            <a:extLst>
              <a:ext uri="{FF2B5EF4-FFF2-40B4-BE49-F238E27FC236}">
                <a16:creationId xmlns:a16="http://schemas.microsoft.com/office/drawing/2014/main" id="{0190FF4E-3BF7-B64B-A048-4A7F0F929204}"/>
              </a:ext>
            </a:extLst>
          </p:cNvPr>
          <p:cNvSpPr>
            <a:spLocks noGrp="1"/>
          </p:cNvSpPr>
          <p:nvPr>
            <p:ph sz="quarter" idx="14"/>
          </p:nvPr>
        </p:nvSpPr>
        <p:spPr>
          <a:xfrm>
            <a:off x="5580749" y="1476531"/>
            <a:ext cx="5417045" cy="463216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9" name="Freeform 5">
            <a:extLst>
              <a:ext uri="{FF2B5EF4-FFF2-40B4-BE49-F238E27FC236}">
                <a16:creationId xmlns:a16="http://schemas.microsoft.com/office/drawing/2014/main" id="{F789CB9A-7CAB-ED4F-8023-756B4C589680}"/>
              </a:ext>
            </a:extLst>
          </p:cNvPr>
          <p:cNvSpPr>
            <a:spLocks/>
          </p:cNvSpPr>
          <p:nvPr userDrawn="1"/>
        </p:nvSpPr>
        <p:spPr bwMode="auto">
          <a:xfrm rot="16200000" flipH="1">
            <a:off x="11248024" y="5405188"/>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5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ouble content blue corn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776288" y="973983"/>
            <a:ext cx="5399548" cy="480131"/>
          </a:xfrm>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776288" y="1521489"/>
            <a:ext cx="5399548" cy="400110"/>
          </a:xfrm>
        </p:spPr>
        <p:txBody>
          <a:bodyPr wrap="square" anchor="t">
            <a:sp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509971" y="973983"/>
            <a:ext cx="4939908" cy="4695825"/>
          </a:xfrm>
        </p:spPr>
        <p:txBody>
          <a:bodyPr/>
          <a:lstStyle/>
          <a:p>
            <a:pPr lvl="0"/>
            <a:r>
              <a:rPr lang="zh-CN" altLang="en-US"/>
              <a:t>单击此处编辑母版文本样式</a:t>
            </a:r>
          </a:p>
        </p:txBody>
      </p:sp>
      <p:pic>
        <p:nvPicPr>
          <p:cNvPr id="12" name="Graphic 11">
            <a:extLst>
              <a:ext uri="{FF2B5EF4-FFF2-40B4-BE49-F238E27FC236}">
                <a16:creationId xmlns:a16="http://schemas.microsoft.com/office/drawing/2014/main" id="{581192B2-F45A-B845-80ED-C263E992FB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13" name="Freeform 5">
            <a:extLst>
              <a:ext uri="{FF2B5EF4-FFF2-40B4-BE49-F238E27FC236}">
                <a16:creationId xmlns:a16="http://schemas.microsoft.com/office/drawing/2014/main" id="{8FB8FAAA-F7C9-494E-B088-EDFF247E0C50}"/>
              </a:ext>
            </a:extLst>
          </p:cNvPr>
          <p:cNvSpPr>
            <a:spLocks/>
          </p:cNvSpPr>
          <p:nvPr/>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Content Placeholder 7">
            <a:extLst>
              <a:ext uri="{FF2B5EF4-FFF2-40B4-BE49-F238E27FC236}">
                <a16:creationId xmlns:a16="http://schemas.microsoft.com/office/drawing/2014/main" id="{C0F03F8C-A030-9A44-8698-81FC663C2FDD}"/>
              </a:ext>
            </a:extLst>
          </p:cNvPr>
          <p:cNvSpPr>
            <a:spLocks noGrp="1"/>
          </p:cNvSpPr>
          <p:nvPr>
            <p:ph sz="quarter" idx="12"/>
          </p:nvPr>
        </p:nvSpPr>
        <p:spPr>
          <a:xfrm>
            <a:off x="776288" y="2040629"/>
            <a:ext cx="5399548" cy="362917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pic>
        <p:nvPicPr>
          <p:cNvPr id="11" name="Graphic 10">
            <a:extLst>
              <a:ext uri="{FF2B5EF4-FFF2-40B4-BE49-F238E27FC236}">
                <a16:creationId xmlns:a16="http://schemas.microsoft.com/office/drawing/2014/main" id="{111FA9B9-CFAD-7D46-92AE-7285C14C8B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14" name="Freeform 5">
            <a:extLst>
              <a:ext uri="{FF2B5EF4-FFF2-40B4-BE49-F238E27FC236}">
                <a16:creationId xmlns:a16="http://schemas.microsoft.com/office/drawing/2014/main" id="{859D98E4-9191-0345-AD56-18E972C0A1F4}"/>
              </a:ext>
            </a:extLst>
          </p:cNvPr>
          <p:cNvSpPr>
            <a:spLocks/>
          </p:cNvSpPr>
          <p:nvPr userDrawn="1"/>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9068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Double content grey corner">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21EFE6BB-2ABE-CD4B-8929-B51CE9BB66BF}"/>
              </a:ext>
            </a:extLst>
          </p:cNvPr>
          <p:cNvSpPr>
            <a:spLocks/>
          </p:cNvSpPr>
          <p:nvPr/>
        </p:nvSpPr>
        <p:spPr bwMode="auto">
          <a:xfrm flipH="1">
            <a:off x="1393" y="2234871"/>
            <a:ext cx="4578350" cy="4622935"/>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776288" y="973983"/>
            <a:ext cx="5399548" cy="480131"/>
          </a:xfrm>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776288" y="1521489"/>
            <a:ext cx="5399548" cy="400110"/>
          </a:xfrm>
        </p:spPr>
        <p:txBody>
          <a:bodyPr wrap="square" anchor="t">
            <a:sp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509971" y="973983"/>
            <a:ext cx="4939908" cy="4695825"/>
          </a:xfrm>
        </p:spPr>
        <p:txBody>
          <a:bodyPr/>
          <a:lstStyle/>
          <a:p>
            <a:pPr lvl="0"/>
            <a:r>
              <a:rPr lang="zh-CN" altLang="en-US"/>
              <a:t>单击此处编辑母版文本样式</a:t>
            </a:r>
          </a:p>
        </p:txBody>
      </p:sp>
      <p:sp>
        <p:nvSpPr>
          <p:cNvPr id="15" name="TextBox 14">
            <a:extLst>
              <a:ext uri="{FF2B5EF4-FFF2-40B4-BE49-F238E27FC236}">
                <a16:creationId xmlns:a16="http://schemas.microsoft.com/office/drawing/2014/main" id="{4854BDDB-5BC7-D04A-8AD4-10F6106E5870}"/>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a:solidFill>
                <a:schemeClr val="tx1"/>
              </a:solidFill>
            </a:endParaRPr>
          </a:p>
        </p:txBody>
      </p:sp>
      <p:grpSp>
        <p:nvGrpSpPr>
          <p:cNvPr id="16" name="Group 15">
            <a:extLst>
              <a:ext uri="{FF2B5EF4-FFF2-40B4-BE49-F238E27FC236}">
                <a16:creationId xmlns:a16="http://schemas.microsoft.com/office/drawing/2014/main" id="{6AF053E2-0ACA-F648-9DD6-CF48A635D4F8}"/>
              </a:ext>
            </a:extLst>
          </p:cNvPr>
          <p:cNvGrpSpPr/>
          <p:nvPr/>
        </p:nvGrpSpPr>
        <p:grpSpPr>
          <a:xfrm>
            <a:off x="417651" y="6383294"/>
            <a:ext cx="1579562" cy="304766"/>
            <a:chOff x="769938" y="419101"/>
            <a:chExt cx="12193588" cy="2352675"/>
          </a:xfrm>
          <a:solidFill>
            <a:schemeClr val="accent1"/>
          </a:solidFill>
        </p:grpSpPr>
        <p:sp>
          <p:nvSpPr>
            <p:cNvPr id="17" name="Freeform 16">
              <a:extLst>
                <a:ext uri="{FF2B5EF4-FFF2-40B4-BE49-F238E27FC236}">
                  <a16:creationId xmlns:a16="http://schemas.microsoft.com/office/drawing/2014/main" id="{8877EFD0-1E53-4A47-80F7-A926D2F1CAF6}"/>
                </a:ext>
              </a:extLst>
            </p:cNvPr>
            <p:cNvSpPr>
              <a:spLocks/>
            </p:cNvSpPr>
            <p:nvPr/>
          </p:nvSpPr>
          <p:spPr bwMode="auto">
            <a:xfrm>
              <a:off x="1946276" y="419101"/>
              <a:ext cx="858838" cy="889000"/>
            </a:xfrm>
            <a:custGeom>
              <a:avLst/>
              <a:gdLst>
                <a:gd name="T0" fmla="*/ 452 w 452"/>
                <a:gd name="T1" fmla="*/ 467 h 467"/>
                <a:gd name="T2" fmla="*/ 452 w 452"/>
                <a:gd name="T3" fmla="*/ 0 h 467"/>
                <a:gd name="T4" fmla="*/ 0 w 452"/>
                <a:gd name="T5" fmla="*/ 0 h 467"/>
                <a:gd name="T6" fmla="*/ 452 w 452"/>
                <a:gd name="T7" fmla="*/ 467 h 467"/>
              </a:gdLst>
              <a:ahLst/>
              <a:cxnLst>
                <a:cxn ang="0">
                  <a:pos x="T0" y="T1"/>
                </a:cxn>
                <a:cxn ang="0">
                  <a:pos x="T2" y="T3"/>
                </a:cxn>
                <a:cxn ang="0">
                  <a:pos x="T4" y="T5"/>
                </a:cxn>
                <a:cxn ang="0">
                  <a:pos x="T6" y="T7"/>
                </a:cxn>
              </a:cxnLst>
              <a:rect l="0" t="0" r="r" b="b"/>
              <a:pathLst>
                <a:path w="452" h="467">
                  <a:moveTo>
                    <a:pt x="452" y="467"/>
                  </a:moveTo>
                  <a:cubicBezTo>
                    <a:pt x="452" y="0"/>
                    <a:pt x="452" y="0"/>
                    <a:pt x="452" y="0"/>
                  </a:cubicBezTo>
                  <a:cubicBezTo>
                    <a:pt x="0" y="0"/>
                    <a:pt x="0" y="0"/>
                    <a:pt x="0" y="0"/>
                  </a:cubicBezTo>
                  <a:cubicBezTo>
                    <a:pt x="233" y="37"/>
                    <a:pt x="416" y="227"/>
                    <a:pt x="452"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8" name="Freeform 17">
              <a:extLst>
                <a:ext uri="{FF2B5EF4-FFF2-40B4-BE49-F238E27FC236}">
                  <a16:creationId xmlns:a16="http://schemas.microsoft.com/office/drawing/2014/main" id="{05B94AA3-7F1D-AA44-9A34-46345ACC0575}"/>
                </a:ext>
              </a:extLst>
            </p:cNvPr>
            <p:cNvSpPr>
              <a:spLocks/>
            </p:cNvSpPr>
            <p:nvPr/>
          </p:nvSpPr>
          <p:spPr bwMode="auto">
            <a:xfrm>
              <a:off x="769938" y="419101"/>
              <a:ext cx="858838" cy="889000"/>
            </a:xfrm>
            <a:custGeom>
              <a:avLst/>
              <a:gdLst>
                <a:gd name="T0" fmla="*/ 452 w 452"/>
                <a:gd name="T1" fmla="*/ 0 h 467"/>
                <a:gd name="T2" fmla="*/ 0 w 452"/>
                <a:gd name="T3" fmla="*/ 0 h 467"/>
                <a:gd name="T4" fmla="*/ 0 w 452"/>
                <a:gd name="T5" fmla="*/ 467 h 467"/>
                <a:gd name="T6" fmla="*/ 452 w 452"/>
                <a:gd name="T7" fmla="*/ 0 h 467"/>
              </a:gdLst>
              <a:ahLst/>
              <a:cxnLst>
                <a:cxn ang="0">
                  <a:pos x="T0" y="T1"/>
                </a:cxn>
                <a:cxn ang="0">
                  <a:pos x="T2" y="T3"/>
                </a:cxn>
                <a:cxn ang="0">
                  <a:pos x="T4" y="T5"/>
                </a:cxn>
                <a:cxn ang="0">
                  <a:pos x="T6" y="T7"/>
                </a:cxn>
              </a:cxnLst>
              <a:rect l="0" t="0" r="r" b="b"/>
              <a:pathLst>
                <a:path w="452" h="467">
                  <a:moveTo>
                    <a:pt x="452" y="0"/>
                  </a:moveTo>
                  <a:cubicBezTo>
                    <a:pt x="0" y="0"/>
                    <a:pt x="0" y="0"/>
                    <a:pt x="0" y="0"/>
                  </a:cubicBezTo>
                  <a:cubicBezTo>
                    <a:pt x="0" y="467"/>
                    <a:pt x="0" y="467"/>
                    <a:pt x="0" y="467"/>
                  </a:cubicBezTo>
                  <a:cubicBezTo>
                    <a:pt x="36" y="227"/>
                    <a:pt x="220" y="37"/>
                    <a:pt x="452"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9" name="Freeform 18">
              <a:extLst>
                <a:ext uri="{FF2B5EF4-FFF2-40B4-BE49-F238E27FC236}">
                  <a16:creationId xmlns:a16="http://schemas.microsoft.com/office/drawing/2014/main" id="{60433023-A4F2-924A-890E-B0DF6E382DBD}"/>
                </a:ext>
              </a:extLst>
            </p:cNvPr>
            <p:cNvSpPr>
              <a:spLocks/>
            </p:cNvSpPr>
            <p:nvPr/>
          </p:nvSpPr>
          <p:spPr bwMode="auto">
            <a:xfrm>
              <a:off x="769938" y="1635126"/>
              <a:ext cx="858838" cy="890588"/>
            </a:xfrm>
            <a:custGeom>
              <a:avLst/>
              <a:gdLst>
                <a:gd name="T0" fmla="*/ 0 w 452"/>
                <a:gd name="T1" fmla="*/ 0 h 467"/>
                <a:gd name="T2" fmla="*/ 0 w 452"/>
                <a:gd name="T3" fmla="*/ 467 h 467"/>
                <a:gd name="T4" fmla="*/ 452 w 452"/>
                <a:gd name="T5" fmla="*/ 467 h 467"/>
                <a:gd name="T6" fmla="*/ 0 w 452"/>
                <a:gd name="T7" fmla="*/ 0 h 467"/>
              </a:gdLst>
              <a:ahLst/>
              <a:cxnLst>
                <a:cxn ang="0">
                  <a:pos x="T0" y="T1"/>
                </a:cxn>
                <a:cxn ang="0">
                  <a:pos x="T2" y="T3"/>
                </a:cxn>
                <a:cxn ang="0">
                  <a:pos x="T4" y="T5"/>
                </a:cxn>
                <a:cxn ang="0">
                  <a:pos x="T6" y="T7"/>
                </a:cxn>
              </a:cxnLst>
              <a:rect l="0" t="0" r="r" b="b"/>
              <a:pathLst>
                <a:path w="452" h="467">
                  <a:moveTo>
                    <a:pt x="0" y="0"/>
                  </a:moveTo>
                  <a:cubicBezTo>
                    <a:pt x="0" y="467"/>
                    <a:pt x="0" y="467"/>
                    <a:pt x="0" y="467"/>
                  </a:cubicBezTo>
                  <a:cubicBezTo>
                    <a:pt x="452" y="467"/>
                    <a:pt x="452" y="467"/>
                    <a:pt x="452" y="467"/>
                  </a:cubicBezTo>
                  <a:cubicBezTo>
                    <a:pt x="220" y="430"/>
                    <a:pt x="36" y="240"/>
                    <a:pt x="0"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0" name="Freeform 19">
              <a:extLst>
                <a:ext uri="{FF2B5EF4-FFF2-40B4-BE49-F238E27FC236}">
                  <a16:creationId xmlns:a16="http://schemas.microsoft.com/office/drawing/2014/main" id="{19B12731-D2DD-1E44-937C-7C9945B25F24}"/>
                </a:ext>
              </a:extLst>
            </p:cNvPr>
            <p:cNvSpPr>
              <a:spLocks/>
            </p:cNvSpPr>
            <p:nvPr/>
          </p:nvSpPr>
          <p:spPr bwMode="auto">
            <a:xfrm>
              <a:off x="1946276" y="1635126"/>
              <a:ext cx="858838" cy="890588"/>
            </a:xfrm>
            <a:custGeom>
              <a:avLst/>
              <a:gdLst>
                <a:gd name="T0" fmla="*/ 0 w 452"/>
                <a:gd name="T1" fmla="*/ 467 h 467"/>
                <a:gd name="T2" fmla="*/ 452 w 452"/>
                <a:gd name="T3" fmla="*/ 467 h 467"/>
                <a:gd name="T4" fmla="*/ 452 w 452"/>
                <a:gd name="T5" fmla="*/ 0 h 467"/>
                <a:gd name="T6" fmla="*/ 0 w 452"/>
                <a:gd name="T7" fmla="*/ 467 h 467"/>
              </a:gdLst>
              <a:ahLst/>
              <a:cxnLst>
                <a:cxn ang="0">
                  <a:pos x="T0" y="T1"/>
                </a:cxn>
                <a:cxn ang="0">
                  <a:pos x="T2" y="T3"/>
                </a:cxn>
                <a:cxn ang="0">
                  <a:pos x="T4" y="T5"/>
                </a:cxn>
                <a:cxn ang="0">
                  <a:pos x="T6" y="T7"/>
                </a:cxn>
              </a:cxnLst>
              <a:rect l="0" t="0" r="r" b="b"/>
              <a:pathLst>
                <a:path w="452" h="467">
                  <a:moveTo>
                    <a:pt x="0" y="467"/>
                  </a:moveTo>
                  <a:cubicBezTo>
                    <a:pt x="452" y="467"/>
                    <a:pt x="452" y="467"/>
                    <a:pt x="452" y="467"/>
                  </a:cubicBezTo>
                  <a:cubicBezTo>
                    <a:pt x="452" y="0"/>
                    <a:pt x="452" y="0"/>
                    <a:pt x="452" y="0"/>
                  </a:cubicBezTo>
                  <a:cubicBezTo>
                    <a:pt x="416" y="240"/>
                    <a:pt x="233" y="430"/>
                    <a:pt x="0"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1" name="Freeform 20">
              <a:extLst>
                <a:ext uri="{FF2B5EF4-FFF2-40B4-BE49-F238E27FC236}">
                  <a16:creationId xmlns:a16="http://schemas.microsoft.com/office/drawing/2014/main" id="{35105EED-6F42-6D4A-A12A-2F6B7FB8E4CF}"/>
                </a:ext>
              </a:extLst>
            </p:cNvPr>
            <p:cNvSpPr>
              <a:spLocks/>
            </p:cNvSpPr>
            <p:nvPr/>
          </p:nvSpPr>
          <p:spPr bwMode="auto">
            <a:xfrm>
              <a:off x="1946276" y="1265238"/>
              <a:ext cx="319088" cy="414338"/>
            </a:xfrm>
            <a:custGeom>
              <a:avLst/>
              <a:gdLst>
                <a:gd name="T0" fmla="*/ 201 w 201"/>
                <a:gd name="T1" fmla="*/ 166 h 261"/>
                <a:gd name="T2" fmla="*/ 91 w 201"/>
                <a:gd name="T3" fmla="*/ 166 h 261"/>
                <a:gd name="T4" fmla="*/ 91 w 201"/>
                <a:gd name="T5" fmla="*/ 94 h 261"/>
                <a:gd name="T6" fmla="*/ 201 w 201"/>
                <a:gd name="T7" fmla="*/ 94 h 261"/>
                <a:gd name="T8" fmla="*/ 201 w 201"/>
                <a:gd name="T9" fmla="*/ 0 h 261"/>
                <a:gd name="T10" fmla="*/ 0 w 201"/>
                <a:gd name="T11" fmla="*/ 0 h 261"/>
                <a:gd name="T12" fmla="*/ 0 w 201"/>
                <a:gd name="T13" fmla="*/ 261 h 261"/>
                <a:gd name="T14" fmla="*/ 201 w 201"/>
                <a:gd name="T15" fmla="*/ 261 h 261"/>
                <a:gd name="T16" fmla="*/ 201 w 201"/>
                <a:gd name="T17" fmla="*/ 16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61">
                  <a:moveTo>
                    <a:pt x="201" y="166"/>
                  </a:moveTo>
                  <a:lnTo>
                    <a:pt x="91" y="166"/>
                  </a:lnTo>
                  <a:lnTo>
                    <a:pt x="91" y="94"/>
                  </a:lnTo>
                  <a:lnTo>
                    <a:pt x="201" y="94"/>
                  </a:lnTo>
                  <a:lnTo>
                    <a:pt x="201" y="0"/>
                  </a:lnTo>
                  <a:lnTo>
                    <a:pt x="0" y="0"/>
                  </a:lnTo>
                  <a:lnTo>
                    <a:pt x="0" y="261"/>
                  </a:lnTo>
                  <a:lnTo>
                    <a:pt x="201" y="261"/>
                  </a:lnTo>
                  <a:lnTo>
                    <a:pt x="201" y="166"/>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2" name="Freeform 21">
              <a:extLst>
                <a:ext uri="{FF2B5EF4-FFF2-40B4-BE49-F238E27FC236}">
                  <a16:creationId xmlns:a16="http://schemas.microsoft.com/office/drawing/2014/main" id="{B39AC0C7-99C2-9D4C-9756-78218D32D52E}"/>
                </a:ext>
              </a:extLst>
            </p:cNvPr>
            <p:cNvSpPr>
              <a:spLocks noEditPoints="1"/>
            </p:cNvSpPr>
            <p:nvPr/>
          </p:nvSpPr>
          <p:spPr bwMode="auto">
            <a:xfrm>
              <a:off x="2308226" y="1031876"/>
              <a:ext cx="393700" cy="647700"/>
            </a:xfrm>
            <a:custGeom>
              <a:avLst/>
              <a:gdLst>
                <a:gd name="T0" fmla="*/ 163 w 248"/>
                <a:gd name="T1" fmla="*/ 313 h 408"/>
                <a:gd name="T2" fmla="*/ 93 w 248"/>
                <a:gd name="T3" fmla="*/ 313 h 408"/>
                <a:gd name="T4" fmla="*/ 93 w 248"/>
                <a:gd name="T5" fmla="*/ 241 h 408"/>
                <a:gd name="T6" fmla="*/ 163 w 248"/>
                <a:gd name="T7" fmla="*/ 241 h 408"/>
                <a:gd name="T8" fmla="*/ 163 w 248"/>
                <a:gd name="T9" fmla="*/ 313 h 408"/>
                <a:gd name="T10" fmla="*/ 0 w 248"/>
                <a:gd name="T11" fmla="*/ 0 h 408"/>
                <a:gd name="T12" fmla="*/ 0 w 248"/>
                <a:gd name="T13" fmla="*/ 408 h 408"/>
                <a:gd name="T14" fmla="*/ 248 w 248"/>
                <a:gd name="T15" fmla="*/ 408 h 408"/>
                <a:gd name="T16" fmla="*/ 248 w 248"/>
                <a:gd name="T17" fmla="*/ 147 h 408"/>
                <a:gd name="T18" fmla="*/ 93 w 248"/>
                <a:gd name="T19" fmla="*/ 147 h 408"/>
                <a:gd name="T20" fmla="*/ 93 w 248"/>
                <a:gd name="T21" fmla="*/ 0 h 408"/>
                <a:gd name="T22" fmla="*/ 0 w 248"/>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08">
                  <a:moveTo>
                    <a:pt x="163" y="313"/>
                  </a:moveTo>
                  <a:lnTo>
                    <a:pt x="93" y="313"/>
                  </a:lnTo>
                  <a:lnTo>
                    <a:pt x="93" y="241"/>
                  </a:lnTo>
                  <a:lnTo>
                    <a:pt x="163" y="241"/>
                  </a:lnTo>
                  <a:lnTo>
                    <a:pt x="163" y="313"/>
                  </a:lnTo>
                  <a:close/>
                  <a:moveTo>
                    <a:pt x="0" y="0"/>
                  </a:moveTo>
                  <a:lnTo>
                    <a:pt x="0" y="408"/>
                  </a:lnTo>
                  <a:lnTo>
                    <a:pt x="248" y="408"/>
                  </a:lnTo>
                  <a:lnTo>
                    <a:pt x="248" y="147"/>
                  </a:lnTo>
                  <a:lnTo>
                    <a:pt x="93" y="147"/>
                  </a:lnTo>
                  <a:lnTo>
                    <a:pt x="93"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3" name="Freeform 22">
              <a:extLst>
                <a:ext uri="{FF2B5EF4-FFF2-40B4-BE49-F238E27FC236}">
                  <a16:creationId xmlns:a16="http://schemas.microsoft.com/office/drawing/2014/main" id="{8D02B1E5-C05E-9844-BA33-9CB1289A7937}"/>
                </a:ext>
              </a:extLst>
            </p:cNvPr>
            <p:cNvSpPr>
              <a:spLocks/>
            </p:cNvSpPr>
            <p:nvPr/>
          </p:nvSpPr>
          <p:spPr bwMode="auto">
            <a:xfrm>
              <a:off x="1512888" y="419101"/>
              <a:ext cx="384175" cy="2106613"/>
            </a:xfrm>
            <a:custGeom>
              <a:avLst/>
              <a:gdLst>
                <a:gd name="T0" fmla="*/ 177 w 242"/>
                <a:gd name="T1" fmla="*/ 0 h 1327"/>
                <a:gd name="T2" fmla="*/ 169 w 242"/>
                <a:gd name="T3" fmla="*/ 0 h 1327"/>
                <a:gd name="T4" fmla="*/ 169 w 242"/>
                <a:gd name="T5" fmla="*/ 533 h 1327"/>
                <a:gd name="T6" fmla="*/ 151 w 242"/>
                <a:gd name="T7" fmla="*/ 533 h 1327"/>
                <a:gd name="T8" fmla="*/ 151 w 242"/>
                <a:gd name="T9" fmla="*/ 699 h 1327"/>
                <a:gd name="T10" fmla="*/ 85 w 242"/>
                <a:gd name="T11" fmla="*/ 699 h 1327"/>
                <a:gd name="T12" fmla="*/ 85 w 242"/>
                <a:gd name="T13" fmla="*/ 533 h 1327"/>
                <a:gd name="T14" fmla="*/ 0 w 242"/>
                <a:gd name="T15" fmla="*/ 533 h 1327"/>
                <a:gd name="T16" fmla="*/ 0 w 242"/>
                <a:gd name="T17" fmla="*/ 794 h 1327"/>
                <a:gd name="T18" fmla="*/ 169 w 242"/>
                <a:gd name="T19" fmla="*/ 794 h 1327"/>
                <a:gd name="T20" fmla="*/ 169 w 242"/>
                <a:gd name="T21" fmla="*/ 1327 h 1327"/>
                <a:gd name="T22" fmla="*/ 177 w 242"/>
                <a:gd name="T23" fmla="*/ 1327 h 1327"/>
                <a:gd name="T24" fmla="*/ 177 w 242"/>
                <a:gd name="T25" fmla="*/ 794 h 1327"/>
                <a:gd name="T26" fmla="*/ 242 w 242"/>
                <a:gd name="T27" fmla="*/ 794 h 1327"/>
                <a:gd name="T28" fmla="*/ 242 w 242"/>
                <a:gd name="T29" fmla="*/ 533 h 1327"/>
                <a:gd name="T30" fmla="*/ 177 w 242"/>
                <a:gd name="T31" fmla="*/ 533 h 1327"/>
                <a:gd name="T32" fmla="*/ 177 w 242"/>
                <a:gd name="T33" fmla="*/ 0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1327">
                  <a:moveTo>
                    <a:pt x="177" y="0"/>
                  </a:moveTo>
                  <a:lnTo>
                    <a:pt x="169" y="0"/>
                  </a:lnTo>
                  <a:lnTo>
                    <a:pt x="169" y="533"/>
                  </a:lnTo>
                  <a:lnTo>
                    <a:pt x="151" y="533"/>
                  </a:lnTo>
                  <a:lnTo>
                    <a:pt x="151" y="699"/>
                  </a:lnTo>
                  <a:lnTo>
                    <a:pt x="85" y="699"/>
                  </a:lnTo>
                  <a:lnTo>
                    <a:pt x="85" y="533"/>
                  </a:lnTo>
                  <a:lnTo>
                    <a:pt x="0" y="533"/>
                  </a:lnTo>
                  <a:lnTo>
                    <a:pt x="0" y="794"/>
                  </a:lnTo>
                  <a:lnTo>
                    <a:pt x="169" y="794"/>
                  </a:lnTo>
                  <a:lnTo>
                    <a:pt x="169" y="1327"/>
                  </a:lnTo>
                  <a:lnTo>
                    <a:pt x="177" y="1327"/>
                  </a:lnTo>
                  <a:lnTo>
                    <a:pt x="177" y="794"/>
                  </a:lnTo>
                  <a:lnTo>
                    <a:pt x="242" y="794"/>
                  </a:lnTo>
                  <a:lnTo>
                    <a:pt x="242" y="533"/>
                  </a:lnTo>
                  <a:lnTo>
                    <a:pt x="177" y="533"/>
                  </a:lnTo>
                  <a:lnTo>
                    <a:pt x="177"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4" name="Rectangle 23">
              <a:extLst>
                <a:ext uri="{FF2B5EF4-FFF2-40B4-BE49-F238E27FC236}">
                  <a16:creationId xmlns:a16="http://schemas.microsoft.com/office/drawing/2014/main" id="{34331F41-0221-F24B-884E-C791B382D853}"/>
                </a:ext>
              </a:extLst>
            </p:cNvPr>
            <p:cNvSpPr>
              <a:spLocks noChangeArrowheads="1"/>
            </p:cNvSpPr>
            <p:nvPr/>
          </p:nvSpPr>
          <p:spPr bwMode="auto">
            <a:xfrm>
              <a:off x="3609976" y="427038"/>
              <a:ext cx="49213" cy="833438"/>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5" name="Freeform 24">
              <a:extLst>
                <a:ext uri="{FF2B5EF4-FFF2-40B4-BE49-F238E27FC236}">
                  <a16:creationId xmlns:a16="http://schemas.microsoft.com/office/drawing/2014/main" id="{44110B3C-1344-D044-AD41-560B8A2B1DC3}"/>
                </a:ext>
              </a:extLst>
            </p:cNvPr>
            <p:cNvSpPr>
              <a:spLocks/>
            </p:cNvSpPr>
            <p:nvPr/>
          </p:nvSpPr>
          <p:spPr bwMode="auto">
            <a:xfrm>
              <a:off x="3830638" y="649288"/>
              <a:ext cx="481013" cy="611188"/>
            </a:xfrm>
            <a:custGeom>
              <a:avLst/>
              <a:gdLst>
                <a:gd name="T0" fmla="*/ 0 w 253"/>
                <a:gd name="T1" fmla="*/ 8 h 321"/>
                <a:gd name="T2" fmla="*/ 26 w 253"/>
                <a:gd name="T3" fmla="*/ 8 h 321"/>
                <a:gd name="T4" fmla="*/ 26 w 253"/>
                <a:gd name="T5" fmla="*/ 63 h 321"/>
                <a:gd name="T6" fmla="*/ 23 w 253"/>
                <a:gd name="T7" fmla="*/ 89 h 321"/>
                <a:gd name="T8" fmla="*/ 24 w 253"/>
                <a:gd name="T9" fmla="*/ 89 h 321"/>
                <a:gd name="T10" fmla="*/ 153 w 253"/>
                <a:gd name="T11" fmla="*/ 0 h 321"/>
                <a:gd name="T12" fmla="*/ 253 w 253"/>
                <a:gd name="T13" fmla="*/ 122 h 321"/>
                <a:gd name="T14" fmla="*/ 253 w 253"/>
                <a:gd name="T15" fmla="*/ 321 h 321"/>
                <a:gd name="T16" fmla="*/ 227 w 253"/>
                <a:gd name="T17" fmla="*/ 321 h 321"/>
                <a:gd name="T18" fmla="*/ 227 w 253"/>
                <a:gd name="T19" fmla="*/ 132 h 321"/>
                <a:gd name="T20" fmla="*/ 153 w 253"/>
                <a:gd name="T21" fmla="*/ 26 h 321"/>
                <a:gd name="T22" fmla="*/ 30 w 253"/>
                <a:gd name="T23" fmla="*/ 126 h 321"/>
                <a:gd name="T24" fmla="*/ 26 w 253"/>
                <a:gd name="T25" fmla="*/ 168 h 321"/>
                <a:gd name="T26" fmla="*/ 26 w 253"/>
                <a:gd name="T27" fmla="*/ 321 h 321"/>
                <a:gd name="T28" fmla="*/ 0 w 253"/>
                <a:gd name="T29" fmla="*/ 321 h 321"/>
                <a:gd name="T30" fmla="*/ 0 w 253"/>
                <a:gd name="T31" fmla="*/ 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321">
                  <a:moveTo>
                    <a:pt x="0" y="8"/>
                  </a:moveTo>
                  <a:cubicBezTo>
                    <a:pt x="26" y="8"/>
                    <a:pt x="26" y="8"/>
                    <a:pt x="26" y="8"/>
                  </a:cubicBezTo>
                  <a:cubicBezTo>
                    <a:pt x="26" y="63"/>
                    <a:pt x="26" y="63"/>
                    <a:pt x="26" y="63"/>
                  </a:cubicBezTo>
                  <a:cubicBezTo>
                    <a:pt x="26" y="77"/>
                    <a:pt x="23" y="89"/>
                    <a:pt x="23" y="89"/>
                  </a:cubicBezTo>
                  <a:cubicBezTo>
                    <a:pt x="24" y="89"/>
                    <a:pt x="24" y="89"/>
                    <a:pt x="24" y="89"/>
                  </a:cubicBezTo>
                  <a:cubicBezTo>
                    <a:pt x="35" y="59"/>
                    <a:pt x="77" y="0"/>
                    <a:pt x="153" y="0"/>
                  </a:cubicBezTo>
                  <a:cubicBezTo>
                    <a:pt x="231" y="0"/>
                    <a:pt x="253" y="49"/>
                    <a:pt x="253" y="122"/>
                  </a:cubicBezTo>
                  <a:cubicBezTo>
                    <a:pt x="253" y="321"/>
                    <a:pt x="253" y="321"/>
                    <a:pt x="253" y="321"/>
                  </a:cubicBezTo>
                  <a:cubicBezTo>
                    <a:pt x="227" y="321"/>
                    <a:pt x="227" y="321"/>
                    <a:pt x="227" y="321"/>
                  </a:cubicBezTo>
                  <a:cubicBezTo>
                    <a:pt x="227" y="132"/>
                    <a:pt x="227" y="132"/>
                    <a:pt x="227" y="132"/>
                  </a:cubicBezTo>
                  <a:cubicBezTo>
                    <a:pt x="227" y="77"/>
                    <a:pt x="220" y="26"/>
                    <a:pt x="153" y="26"/>
                  </a:cubicBezTo>
                  <a:cubicBezTo>
                    <a:pt x="96" y="26"/>
                    <a:pt x="46" y="67"/>
                    <a:pt x="30" y="126"/>
                  </a:cubicBezTo>
                  <a:cubicBezTo>
                    <a:pt x="27" y="139"/>
                    <a:pt x="26" y="153"/>
                    <a:pt x="26" y="168"/>
                  </a:cubicBezTo>
                  <a:cubicBezTo>
                    <a:pt x="26" y="321"/>
                    <a:pt x="26" y="321"/>
                    <a:pt x="26" y="321"/>
                  </a:cubicBezTo>
                  <a:cubicBezTo>
                    <a:pt x="0" y="321"/>
                    <a:pt x="0" y="321"/>
                    <a:pt x="0" y="321"/>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6" name="Freeform 25">
              <a:extLst>
                <a:ext uri="{FF2B5EF4-FFF2-40B4-BE49-F238E27FC236}">
                  <a16:creationId xmlns:a16="http://schemas.microsoft.com/office/drawing/2014/main" id="{6A976845-9570-C140-AEEF-0DBD4AA9CD8B}"/>
                </a:ext>
              </a:extLst>
            </p:cNvPr>
            <p:cNvSpPr>
              <a:spLocks/>
            </p:cNvSpPr>
            <p:nvPr/>
          </p:nvSpPr>
          <p:spPr bwMode="auto">
            <a:xfrm>
              <a:off x="4400551" y="652463"/>
              <a:ext cx="392113" cy="622300"/>
            </a:xfrm>
            <a:custGeom>
              <a:avLst/>
              <a:gdLst>
                <a:gd name="T0" fmla="*/ 16 w 206"/>
                <a:gd name="T1" fmla="*/ 262 h 327"/>
                <a:gd name="T2" fmla="*/ 110 w 206"/>
                <a:gd name="T3" fmla="*/ 302 h 327"/>
                <a:gd name="T4" fmla="*/ 179 w 206"/>
                <a:gd name="T5" fmla="*/ 243 h 327"/>
                <a:gd name="T6" fmla="*/ 13 w 206"/>
                <a:gd name="T7" fmla="*/ 84 h 327"/>
                <a:gd name="T8" fmla="*/ 110 w 206"/>
                <a:gd name="T9" fmla="*/ 0 h 327"/>
                <a:gd name="T10" fmla="*/ 199 w 206"/>
                <a:gd name="T11" fmla="*/ 33 h 327"/>
                <a:gd name="T12" fmla="*/ 184 w 206"/>
                <a:gd name="T13" fmla="*/ 55 h 327"/>
                <a:gd name="T14" fmla="*/ 108 w 206"/>
                <a:gd name="T15" fmla="*/ 25 h 327"/>
                <a:gd name="T16" fmla="*/ 40 w 206"/>
                <a:gd name="T17" fmla="*/ 82 h 327"/>
                <a:gd name="T18" fmla="*/ 206 w 206"/>
                <a:gd name="T19" fmla="*/ 243 h 327"/>
                <a:gd name="T20" fmla="*/ 109 w 206"/>
                <a:gd name="T21" fmla="*/ 327 h 327"/>
                <a:gd name="T22" fmla="*/ 0 w 206"/>
                <a:gd name="T23" fmla="*/ 282 h 327"/>
                <a:gd name="T24" fmla="*/ 16 w 206"/>
                <a:gd name="T25" fmla="*/ 2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327">
                  <a:moveTo>
                    <a:pt x="16" y="262"/>
                  </a:moveTo>
                  <a:cubicBezTo>
                    <a:pt x="16" y="262"/>
                    <a:pt x="50" y="302"/>
                    <a:pt x="110" y="302"/>
                  </a:cubicBezTo>
                  <a:cubicBezTo>
                    <a:pt x="147" y="302"/>
                    <a:pt x="179" y="281"/>
                    <a:pt x="179" y="243"/>
                  </a:cubicBezTo>
                  <a:cubicBezTo>
                    <a:pt x="179" y="163"/>
                    <a:pt x="13" y="186"/>
                    <a:pt x="13" y="84"/>
                  </a:cubicBezTo>
                  <a:cubicBezTo>
                    <a:pt x="13" y="28"/>
                    <a:pt x="58" y="0"/>
                    <a:pt x="110" y="0"/>
                  </a:cubicBezTo>
                  <a:cubicBezTo>
                    <a:pt x="171" y="0"/>
                    <a:pt x="199" y="33"/>
                    <a:pt x="199" y="33"/>
                  </a:cubicBezTo>
                  <a:cubicBezTo>
                    <a:pt x="184" y="55"/>
                    <a:pt x="184" y="55"/>
                    <a:pt x="184" y="55"/>
                  </a:cubicBezTo>
                  <a:cubicBezTo>
                    <a:pt x="184" y="55"/>
                    <a:pt x="159" y="25"/>
                    <a:pt x="108" y="25"/>
                  </a:cubicBezTo>
                  <a:cubicBezTo>
                    <a:pt x="73" y="25"/>
                    <a:pt x="40" y="41"/>
                    <a:pt x="40" y="82"/>
                  </a:cubicBezTo>
                  <a:cubicBezTo>
                    <a:pt x="40" y="163"/>
                    <a:pt x="206" y="139"/>
                    <a:pt x="206" y="243"/>
                  </a:cubicBezTo>
                  <a:cubicBezTo>
                    <a:pt x="206" y="293"/>
                    <a:pt x="165" y="327"/>
                    <a:pt x="109" y="327"/>
                  </a:cubicBezTo>
                  <a:cubicBezTo>
                    <a:pt x="36" y="327"/>
                    <a:pt x="0" y="282"/>
                    <a:pt x="0" y="282"/>
                  </a:cubicBezTo>
                  <a:lnTo>
                    <a:pt x="16" y="26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7" name="Freeform 26">
              <a:extLst>
                <a:ext uri="{FF2B5EF4-FFF2-40B4-BE49-F238E27FC236}">
                  <a16:creationId xmlns:a16="http://schemas.microsoft.com/office/drawing/2014/main" id="{37E0DA62-90B9-7842-AB64-75D0584A67F8}"/>
                </a:ext>
              </a:extLst>
            </p:cNvPr>
            <p:cNvSpPr>
              <a:spLocks noEditPoints="1"/>
            </p:cNvSpPr>
            <p:nvPr/>
          </p:nvSpPr>
          <p:spPr bwMode="auto">
            <a:xfrm>
              <a:off x="4899026" y="649288"/>
              <a:ext cx="501650" cy="849313"/>
            </a:xfrm>
            <a:custGeom>
              <a:avLst/>
              <a:gdLst>
                <a:gd name="T0" fmla="*/ 130 w 264"/>
                <a:gd name="T1" fmla="*/ 303 h 446"/>
                <a:gd name="T2" fmla="*/ 238 w 264"/>
                <a:gd name="T3" fmla="*/ 164 h 446"/>
                <a:gd name="T4" fmla="*/ 132 w 264"/>
                <a:gd name="T5" fmla="*/ 26 h 446"/>
                <a:gd name="T6" fmla="*/ 25 w 264"/>
                <a:gd name="T7" fmla="*/ 165 h 446"/>
                <a:gd name="T8" fmla="*/ 130 w 264"/>
                <a:gd name="T9" fmla="*/ 303 h 446"/>
                <a:gd name="T10" fmla="*/ 0 w 264"/>
                <a:gd name="T11" fmla="*/ 8 h 446"/>
                <a:gd name="T12" fmla="*/ 25 w 264"/>
                <a:gd name="T13" fmla="*/ 8 h 446"/>
                <a:gd name="T14" fmla="*/ 25 w 264"/>
                <a:gd name="T15" fmla="*/ 46 h 446"/>
                <a:gd name="T16" fmla="*/ 23 w 264"/>
                <a:gd name="T17" fmla="*/ 71 h 446"/>
                <a:gd name="T18" fmla="*/ 25 w 264"/>
                <a:gd name="T19" fmla="*/ 71 h 446"/>
                <a:gd name="T20" fmla="*/ 134 w 264"/>
                <a:gd name="T21" fmla="*/ 0 h 446"/>
                <a:gd name="T22" fmla="*/ 264 w 264"/>
                <a:gd name="T23" fmla="*/ 164 h 446"/>
                <a:gd name="T24" fmla="*/ 130 w 264"/>
                <a:gd name="T25" fmla="*/ 328 h 446"/>
                <a:gd name="T26" fmla="*/ 24 w 264"/>
                <a:gd name="T27" fmla="*/ 257 h 446"/>
                <a:gd name="T28" fmla="*/ 23 w 264"/>
                <a:gd name="T29" fmla="*/ 257 h 446"/>
                <a:gd name="T30" fmla="*/ 25 w 264"/>
                <a:gd name="T31" fmla="*/ 285 h 446"/>
                <a:gd name="T32" fmla="*/ 25 w 264"/>
                <a:gd name="T33" fmla="*/ 446 h 446"/>
                <a:gd name="T34" fmla="*/ 0 w 264"/>
                <a:gd name="T35" fmla="*/ 446 h 446"/>
                <a:gd name="T36" fmla="*/ 0 w 264"/>
                <a:gd name="T37" fmla="*/ 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303"/>
                  </a:moveTo>
                  <a:cubicBezTo>
                    <a:pt x="189" y="303"/>
                    <a:pt x="238" y="252"/>
                    <a:pt x="238" y="164"/>
                  </a:cubicBezTo>
                  <a:cubicBezTo>
                    <a:pt x="238" y="80"/>
                    <a:pt x="194" y="26"/>
                    <a:pt x="132" y="26"/>
                  </a:cubicBezTo>
                  <a:cubicBezTo>
                    <a:pt x="77" y="26"/>
                    <a:pt x="25" y="67"/>
                    <a:pt x="25" y="165"/>
                  </a:cubicBezTo>
                  <a:cubicBezTo>
                    <a:pt x="25" y="234"/>
                    <a:pt x="62" y="303"/>
                    <a:pt x="130" y="303"/>
                  </a:cubicBezTo>
                  <a:moveTo>
                    <a:pt x="0" y="8"/>
                  </a:moveTo>
                  <a:cubicBezTo>
                    <a:pt x="25" y="8"/>
                    <a:pt x="25" y="8"/>
                    <a:pt x="25" y="8"/>
                  </a:cubicBezTo>
                  <a:cubicBezTo>
                    <a:pt x="25" y="46"/>
                    <a:pt x="25" y="46"/>
                    <a:pt x="25" y="46"/>
                  </a:cubicBezTo>
                  <a:cubicBezTo>
                    <a:pt x="25" y="60"/>
                    <a:pt x="23" y="71"/>
                    <a:pt x="23" y="71"/>
                  </a:cubicBezTo>
                  <a:cubicBezTo>
                    <a:pt x="25" y="71"/>
                    <a:pt x="25" y="71"/>
                    <a:pt x="25" y="71"/>
                  </a:cubicBezTo>
                  <a:cubicBezTo>
                    <a:pt x="25" y="71"/>
                    <a:pt x="49" y="0"/>
                    <a:pt x="134" y="0"/>
                  </a:cubicBezTo>
                  <a:cubicBezTo>
                    <a:pt x="215" y="0"/>
                    <a:pt x="264" y="67"/>
                    <a:pt x="264" y="164"/>
                  </a:cubicBezTo>
                  <a:cubicBezTo>
                    <a:pt x="264" y="264"/>
                    <a:pt x="208" y="328"/>
                    <a:pt x="130" y="328"/>
                  </a:cubicBezTo>
                  <a:cubicBezTo>
                    <a:pt x="51" y="328"/>
                    <a:pt x="24" y="257"/>
                    <a:pt x="24" y="257"/>
                  </a:cubicBezTo>
                  <a:cubicBezTo>
                    <a:pt x="23" y="257"/>
                    <a:pt x="23" y="257"/>
                    <a:pt x="23" y="257"/>
                  </a:cubicBezTo>
                  <a:cubicBezTo>
                    <a:pt x="23" y="257"/>
                    <a:pt x="25" y="269"/>
                    <a:pt x="25" y="285"/>
                  </a:cubicBezTo>
                  <a:cubicBezTo>
                    <a:pt x="25" y="446"/>
                    <a:pt x="25" y="446"/>
                    <a:pt x="25" y="446"/>
                  </a:cubicBezTo>
                  <a:cubicBezTo>
                    <a:pt x="0" y="446"/>
                    <a:pt x="0" y="446"/>
                    <a:pt x="0" y="446"/>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8" name="Freeform 27">
              <a:extLst>
                <a:ext uri="{FF2B5EF4-FFF2-40B4-BE49-F238E27FC236}">
                  <a16:creationId xmlns:a16="http://schemas.microsoft.com/office/drawing/2014/main" id="{400545EC-F504-0541-A316-C3189AA96099}"/>
                </a:ext>
              </a:extLst>
            </p:cNvPr>
            <p:cNvSpPr>
              <a:spLocks noEditPoints="1"/>
            </p:cNvSpPr>
            <p:nvPr/>
          </p:nvSpPr>
          <p:spPr bwMode="auto">
            <a:xfrm>
              <a:off x="5513388" y="427038"/>
              <a:ext cx="57150" cy="833438"/>
            </a:xfrm>
            <a:custGeom>
              <a:avLst/>
              <a:gdLst>
                <a:gd name="T0" fmla="*/ 3 w 36"/>
                <a:gd name="T1" fmla="*/ 525 h 525"/>
                <a:gd name="T2" fmla="*/ 34 w 36"/>
                <a:gd name="T3" fmla="*/ 525 h 525"/>
                <a:gd name="T4" fmla="*/ 34 w 36"/>
                <a:gd name="T5" fmla="*/ 150 h 525"/>
                <a:gd name="T6" fmla="*/ 3 w 36"/>
                <a:gd name="T7" fmla="*/ 150 h 525"/>
                <a:gd name="T8" fmla="*/ 3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3" y="525"/>
                  </a:moveTo>
                  <a:lnTo>
                    <a:pt x="34" y="525"/>
                  </a:lnTo>
                  <a:lnTo>
                    <a:pt x="34" y="150"/>
                  </a:lnTo>
                  <a:lnTo>
                    <a:pt x="3" y="150"/>
                  </a:lnTo>
                  <a:lnTo>
                    <a:pt x="3"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9" name="Freeform 28">
              <a:extLst>
                <a:ext uri="{FF2B5EF4-FFF2-40B4-BE49-F238E27FC236}">
                  <a16:creationId xmlns:a16="http://schemas.microsoft.com/office/drawing/2014/main" id="{D7613BB2-5704-A544-845A-5EE91F5F60E8}"/>
                </a:ext>
              </a:extLst>
            </p:cNvPr>
            <p:cNvSpPr>
              <a:spLocks/>
            </p:cNvSpPr>
            <p:nvPr/>
          </p:nvSpPr>
          <p:spPr bwMode="auto">
            <a:xfrm>
              <a:off x="5716588" y="660401"/>
              <a:ext cx="263525" cy="600075"/>
            </a:xfrm>
            <a:custGeom>
              <a:avLst/>
              <a:gdLst>
                <a:gd name="T0" fmla="*/ 0 w 138"/>
                <a:gd name="T1" fmla="*/ 2 h 315"/>
                <a:gd name="T2" fmla="*/ 25 w 138"/>
                <a:gd name="T3" fmla="*/ 2 h 315"/>
                <a:gd name="T4" fmla="*/ 25 w 138"/>
                <a:gd name="T5" fmla="*/ 61 h 315"/>
                <a:gd name="T6" fmla="*/ 23 w 138"/>
                <a:gd name="T7" fmla="*/ 87 h 315"/>
                <a:gd name="T8" fmla="*/ 24 w 138"/>
                <a:gd name="T9" fmla="*/ 87 h 315"/>
                <a:gd name="T10" fmla="*/ 121 w 138"/>
                <a:gd name="T11" fmla="*/ 0 h 315"/>
                <a:gd name="T12" fmla="*/ 138 w 138"/>
                <a:gd name="T13" fmla="*/ 1 h 315"/>
                <a:gd name="T14" fmla="*/ 138 w 138"/>
                <a:gd name="T15" fmla="*/ 28 h 315"/>
                <a:gd name="T16" fmla="*/ 125 w 138"/>
                <a:gd name="T17" fmla="*/ 26 h 315"/>
                <a:gd name="T18" fmla="*/ 34 w 138"/>
                <a:gd name="T19" fmla="*/ 114 h 315"/>
                <a:gd name="T20" fmla="*/ 25 w 138"/>
                <a:gd name="T21" fmla="*/ 180 h 315"/>
                <a:gd name="T22" fmla="*/ 25 w 138"/>
                <a:gd name="T23" fmla="*/ 315 h 315"/>
                <a:gd name="T24" fmla="*/ 0 w 138"/>
                <a:gd name="T25" fmla="*/ 315 h 315"/>
                <a:gd name="T26" fmla="*/ 0 w 138"/>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15">
                  <a:moveTo>
                    <a:pt x="0" y="2"/>
                  </a:moveTo>
                  <a:cubicBezTo>
                    <a:pt x="25" y="2"/>
                    <a:pt x="25" y="2"/>
                    <a:pt x="25" y="2"/>
                  </a:cubicBezTo>
                  <a:cubicBezTo>
                    <a:pt x="25" y="61"/>
                    <a:pt x="25" y="61"/>
                    <a:pt x="25" y="61"/>
                  </a:cubicBezTo>
                  <a:cubicBezTo>
                    <a:pt x="25" y="76"/>
                    <a:pt x="23" y="87"/>
                    <a:pt x="23" y="87"/>
                  </a:cubicBezTo>
                  <a:cubicBezTo>
                    <a:pt x="24" y="87"/>
                    <a:pt x="24" y="87"/>
                    <a:pt x="24" y="87"/>
                  </a:cubicBezTo>
                  <a:cubicBezTo>
                    <a:pt x="39" y="39"/>
                    <a:pt x="73" y="0"/>
                    <a:pt x="121" y="0"/>
                  </a:cubicBezTo>
                  <a:cubicBezTo>
                    <a:pt x="130" y="0"/>
                    <a:pt x="138" y="1"/>
                    <a:pt x="138" y="1"/>
                  </a:cubicBezTo>
                  <a:cubicBezTo>
                    <a:pt x="138" y="28"/>
                    <a:pt x="138" y="28"/>
                    <a:pt x="138" y="28"/>
                  </a:cubicBezTo>
                  <a:cubicBezTo>
                    <a:pt x="138" y="28"/>
                    <a:pt x="131" y="26"/>
                    <a:pt x="125" y="26"/>
                  </a:cubicBezTo>
                  <a:cubicBezTo>
                    <a:pt x="77" y="26"/>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0" name="Freeform 29">
              <a:extLst>
                <a:ext uri="{FF2B5EF4-FFF2-40B4-BE49-F238E27FC236}">
                  <a16:creationId xmlns:a16="http://schemas.microsoft.com/office/drawing/2014/main" id="{F36C59A9-C00C-D440-A9AF-693C1680A10D}"/>
                </a:ext>
              </a:extLst>
            </p:cNvPr>
            <p:cNvSpPr>
              <a:spLocks noEditPoints="1"/>
            </p:cNvSpPr>
            <p:nvPr/>
          </p:nvSpPr>
          <p:spPr bwMode="auto">
            <a:xfrm>
              <a:off x="5991226" y="649288"/>
              <a:ext cx="514350" cy="625475"/>
            </a:xfrm>
            <a:custGeom>
              <a:avLst/>
              <a:gdLst>
                <a:gd name="T0" fmla="*/ 244 w 271"/>
                <a:gd name="T1" fmla="*/ 136 h 328"/>
                <a:gd name="T2" fmla="*/ 147 w 271"/>
                <a:gd name="T3" fmla="*/ 25 h 328"/>
                <a:gd name="T4" fmla="*/ 29 w 271"/>
                <a:gd name="T5" fmla="*/ 136 h 328"/>
                <a:gd name="T6" fmla="*/ 244 w 271"/>
                <a:gd name="T7" fmla="*/ 136 h 328"/>
                <a:gd name="T8" fmla="*/ 147 w 271"/>
                <a:gd name="T9" fmla="*/ 0 h 328"/>
                <a:gd name="T10" fmla="*/ 271 w 271"/>
                <a:gd name="T11" fmla="*/ 143 h 328"/>
                <a:gd name="T12" fmla="*/ 270 w 271"/>
                <a:gd name="T13" fmla="*/ 160 h 328"/>
                <a:gd name="T14" fmla="*/ 27 w 271"/>
                <a:gd name="T15" fmla="*/ 160 h 328"/>
                <a:gd name="T16" fmla="*/ 156 w 271"/>
                <a:gd name="T17" fmla="*/ 303 h 328"/>
                <a:gd name="T18" fmla="*/ 250 w 271"/>
                <a:gd name="T19" fmla="*/ 263 h 328"/>
                <a:gd name="T20" fmla="*/ 264 w 271"/>
                <a:gd name="T21" fmla="*/ 285 h 328"/>
                <a:gd name="T22" fmla="*/ 156 w 271"/>
                <a:gd name="T23" fmla="*/ 328 h 328"/>
                <a:gd name="T24" fmla="*/ 0 w 271"/>
                <a:gd name="T25" fmla="*/ 165 h 328"/>
                <a:gd name="T26" fmla="*/ 147 w 271"/>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328">
                  <a:moveTo>
                    <a:pt x="244" y="136"/>
                  </a:moveTo>
                  <a:cubicBezTo>
                    <a:pt x="241" y="59"/>
                    <a:pt x="197" y="25"/>
                    <a:pt x="147" y="25"/>
                  </a:cubicBezTo>
                  <a:cubicBezTo>
                    <a:pt x="91" y="25"/>
                    <a:pt x="39" y="62"/>
                    <a:pt x="29" y="136"/>
                  </a:cubicBezTo>
                  <a:lnTo>
                    <a:pt x="244" y="136"/>
                  </a:lnTo>
                  <a:close/>
                  <a:moveTo>
                    <a:pt x="147" y="0"/>
                  </a:moveTo>
                  <a:cubicBezTo>
                    <a:pt x="230" y="0"/>
                    <a:pt x="271" y="67"/>
                    <a:pt x="271" y="143"/>
                  </a:cubicBezTo>
                  <a:cubicBezTo>
                    <a:pt x="271" y="150"/>
                    <a:pt x="270" y="160"/>
                    <a:pt x="270" y="160"/>
                  </a:cubicBezTo>
                  <a:cubicBezTo>
                    <a:pt x="27" y="160"/>
                    <a:pt x="27" y="160"/>
                    <a:pt x="27" y="160"/>
                  </a:cubicBezTo>
                  <a:cubicBezTo>
                    <a:pt x="27" y="251"/>
                    <a:pt x="86" y="303"/>
                    <a:pt x="156" y="303"/>
                  </a:cubicBezTo>
                  <a:cubicBezTo>
                    <a:pt x="214" y="303"/>
                    <a:pt x="250" y="263"/>
                    <a:pt x="250" y="263"/>
                  </a:cubicBezTo>
                  <a:cubicBezTo>
                    <a:pt x="264" y="285"/>
                    <a:pt x="264" y="285"/>
                    <a:pt x="264" y="285"/>
                  </a:cubicBezTo>
                  <a:cubicBezTo>
                    <a:pt x="264" y="285"/>
                    <a:pt x="222" y="328"/>
                    <a:pt x="156" y="328"/>
                  </a:cubicBezTo>
                  <a:cubicBezTo>
                    <a:pt x="71" y="328"/>
                    <a:pt x="0" y="264"/>
                    <a:pt x="0" y="165"/>
                  </a:cubicBezTo>
                  <a:cubicBezTo>
                    <a:pt x="0" y="59"/>
                    <a:pt x="70"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1" name="Freeform 30">
              <a:extLst>
                <a:ext uri="{FF2B5EF4-FFF2-40B4-BE49-F238E27FC236}">
                  <a16:creationId xmlns:a16="http://schemas.microsoft.com/office/drawing/2014/main" id="{FC901860-399C-AE4A-9485-33C49C83BDBC}"/>
                </a:ext>
              </a:extLst>
            </p:cNvPr>
            <p:cNvSpPr>
              <a:spLocks noEditPoints="1"/>
            </p:cNvSpPr>
            <p:nvPr/>
          </p:nvSpPr>
          <p:spPr bwMode="auto">
            <a:xfrm>
              <a:off x="6584951" y="427038"/>
              <a:ext cx="501650" cy="847725"/>
            </a:xfrm>
            <a:custGeom>
              <a:avLst/>
              <a:gdLst>
                <a:gd name="T0" fmla="*/ 132 w 264"/>
                <a:gd name="T1" fmla="*/ 420 h 445"/>
                <a:gd name="T2" fmla="*/ 239 w 264"/>
                <a:gd name="T3" fmla="*/ 281 h 445"/>
                <a:gd name="T4" fmla="*/ 134 w 264"/>
                <a:gd name="T5" fmla="*/ 143 h 445"/>
                <a:gd name="T6" fmla="*/ 26 w 264"/>
                <a:gd name="T7" fmla="*/ 281 h 445"/>
                <a:gd name="T8" fmla="*/ 132 w 264"/>
                <a:gd name="T9" fmla="*/ 420 h 445"/>
                <a:gd name="T10" fmla="*/ 135 w 264"/>
                <a:gd name="T11" fmla="*/ 117 h 445"/>
                <a:gd name="T12" fmla="*/ 240 w 264"/>
                <a:gd name="T13" fmla="*/ 188 h 445"/>
                <a:gd name="T14" fmla="*/ 241 w 264"/>
                <a:gd name="T15" fmla="*/ 188 h 445"/>
                <a:gd name="T16" fmla="*/ 239 w 264"/>
                <a:gd name="T17" fmla="*/ 162 h 445"/>
                <a:gd name="T18" fmla="*/ 239 w 264"/>
                <a:gd name="T19" fmla="*/ 0 h 445"/>
                <a:gd name="T20" fmla="*/ 264 w 264"/>
                <a:gd name="T21" fmla="*/ 0 h 445"/>
                <a:gd name="T22" fmla="*/ 264 w 264"/>
                <a:gd name="T23" fmla="*/ 438 h 445"/>
                <a:gd name="T24" fmla="*/ 239 w 264"/>
                <a:gd name="T25" fmla="*/ 438 h 445"/>
                <a:gd name="T26" fmla="*/ 239 w 264"/>
                <a:gd name="T27" fmla="*/ 398 h 445"/>
                <a:gd name="T28" fmla="*/ 241 w 264"/>
                <a:gd name="T29" fmla="*/ 374 h 445"/>
                <a:gd name="T30" fmla="*/ 240 w 264"/>
                <a:gd name="T31" fmla="*/ 374 h 445"/>
                <a:gd name="T32" fmla="*/ 131 w 264"/>
                <a:gd name="T33" fmla="*/ 445 h 445"/>
                <a:gd name="T34" fmla="*/ 0 w 264"/>
                <a:gd name="T35" fmla="*/ 281 h 445"/>
                <a:gd name="T36" fmla="*/ 135 w 264"/>
                <a:gd name="T37" fmla="*/ 11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5">
                  <a:moveTo>
                    <a:pt x="132" y="420"/>
                  </a:moveTo>
                  <a:cubicBezTo>
                    <a:pt x="187" y="420"/>
                    <a:pt x="239" y="379"/>
                    <a:pt x="239" y="281"/>
                  </a:cubicBezTo>
                  <a:cubicBezTo>
                    <a:pt x="239" y="211"/>
                    <a:pt x="205" y="143"/>
                    <a:pt x="134" y="143"/>
                  </a:cubicBezTo>
                  <a:cubicBezTo>
                    <a:pt x="75" y="143"/>
                    <a:pt x="26" y="194"/>
                    <a:pt x="26" y="281"/>
                  </a:cubicBezTo>
                  <a:cubicBezTo>
                    <a:pt x="26" y="366"/>
                    <a:pt x="70" y="420"/>
                    <a:pt x="132" y="420"/>
                  </a:cubicBezTo>
                  <a:moveTo>
                    <a:pt x="135" y="117"/>
                  </a:moveTo>
                  <a:cubicBezTo>
                    <a:pt x="212" y="117"/>
                    <a:pt x="240" y="188"/>
                    <a:pt x="240" y="188"/>
                  </a:cubicBezTo>
                  <a:cubicBezTo>
                    <a:pt x="241" y="188"/>
                    <a:pt x="241" y="188"/>
                    <a:pt x="241" y="188"/>
                  </a:cubicBezTo>
                  <a:cubicBezTo>
                    <a:pt x="241" y="188"/>
                    <a:pt x="239" y="177"/>
                    <a:pt x="239" y="162"/>
                  </a:cubicBezTo>
                  <a:cubicBezTo>
                    <a:pt x="239" y="0"/>
                    <a:pt x="239" y="0"/>
                    <a:pt x="239" y="0"/>
                  </a:cubicBezTo>
                  <a:cubicBezTo>
                    <a:pt x="264" y="0"/>
                    <a:pt x="264" y="0"/>
                    <a:pt x="264" y="0"/>
                  </a:cubicBezTo>
                  <a:cubicBezTo>
                    <a:pt x="264" y="438"/>
                    <a:pt x="264" y="438"/>
                    <a:pt x="264" y="438"/>
                  </a:cubicBezTo>
                  <a:cubicBezTo>
                    <a:pt x="239" y="438"/>
                    <a:pt x="239" y="438"/>
                    <a:pt x="239" y="438"/>
                  </a:cubicBezTo>
                  <a:cubicBezTo>
                    <a:pt x="239" y="398"/>
                    <a:pt x="239" y="398"/>
                    <a:pt x="239" y="398"/>
                  </a:cubicBezTo>
                  <a:cubicBezTo>
                    <a:pt x="239" y="384"/>
                    <a:pt x="241" y="374"/>
                    <a:pt x="241" y="374"/>
                  </a:cubicBezTo>
                  <a:cubicBezTo>
                    <a:pt x="240" y="374"/>
                    <a:pt x="240" y="374"/>
                    <a:pt x="240" y="374"/>
                  </a:cubicBezTo>
                  <a:cubicBezTo>
                    <a:pt x="240" y="374"/>
                    <a:pt x="214" y="445"/>
                    <a:pt x="131" y="445"/>
                  </a:cubicBezTo>
                  <a:cubicBezTo>
                    <a:pt x="49" y="445"/>
                    <a:pt x="0" y="378"/>
                    <a:pt x="0" y="281"/>
                  </a:cubicBezTo>
                  <a:cubicBezTo>
                    <a:pt x="0" y="182"/>
                    <a:pt x="56" y="117"/>
                    <a:pt x="135" y="11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2" name="Freeform 31">
              <a:extLst>
                <a:ext uri="{FF2B5EF4-FFF2-40B4-BE49-F238E27FC236}">
                  <a16:creationId xmlns:a16="http://schemas.microsoft.com/office/drawing/2014/main" id="{1275DDBF-B86F-B045-BE1F-01830C38DCCD}"/>
                </a:ext>
              </a:extLst>
            </p:cNvPr>
            <p:cNvSpPr>
              <a:spLocks noEditPoints="1"/>
            </p:cNvSpPr>
            <p:nvPr/>
          </p:nvSpPr>
          <p:spPr bwMode="auto">
            <a:xfrm>
              <a:off x="7562851" y="427038"/>
              <a:ext cx="503238" cy="847725"/>
            </a:xfrm>
            <a:custGeom>
              <a:avLst/>
              <a:gdLst>
                <a:gd name="T0" fmla="*/ 130 w 265"/>
                <a:gd name="T1" fmla="*/ 420 h 445"/>
                <a:gd name="T2" fmla="*/ 238 w 265"/>
                <a:gd name="T3" fmla="*/ 281 h 445"/>
                <a:gd name="T4" fmla="*/ 133 w 265"/>
                <a:gd name="T5" fmla="*/ 143 h 445"/>
                <a:gd name="T6" fmla="*/ 25 w 265"/>
                <a:gd name="T7" fmla="*/ 282 h 445"/>
                <a:gd name="T8" fmla="*/ 130 w 265"/>
                <a:gd name="T9" fmla="*/ 420 h 445"/>
                <a:gd name="T10" fmla="*/ 0 w 265"/>
                <a:gd name="T11" fmla="*/ 0 h 445"/>
                <a:gd name="T12" fmla="*/ 26 w 265"/>
                <a:gd name="T13" fmla="*/ 0 h 445"/>
                <a:gd name="T14" fmla="*/ 26 w 265"/>
                <a:gd name="T15" fmla="*/ 163 h 445"/>
                <a:gd name="T16" fmla="*/ 23 w 265"/>
                <a:gd name="T17" fmla="*/ 188 h 445"/>
                <a:gd name="T18" fmla="*/ 24 w 265"/>
                <a:gd name="T19" fmla="*/ 188 h 445"/>
                <a:gd name="T20" fmla="*/ 134 w 265"/>
                <a:gd name="T21" fmla="*/ 117 h 445"/>
                <a:gd name="T22" fmla="*/ 265 w 265"/>
                <a:gd name="T23" fmla="*/ 281 h 445"/>
                <a:gd name="T24" fmla="*/ 129 w 265"/>
                <a:gd name="T25" fmla="*/ 445 h 445"/>
                <a:gd name="T26" fmla="*/ 24 w 265"/>
                <a:gd name="T27" fmla="*/ 374 h 445"/>
                <a:gd name="T28" fmla="*/ 23 w 265"/>
                <a:gd name="T29" fmla="*/ 374 h 445"/>
                <a:gd name="T30" fmla="*/ 26 w 265"/>
                <a:gd name="T31" fmla="*/ 402 h 445"/>
                <a:gd name="T32" fmla="*/ 26 w 265"/>
                <a:gd name="T33" fmla="*/ 438 h 445"/>
                <a:gd name="T34" fmla="*/ 0 w 265"/>
                <a:gd name="T35" fmla="*/ 438 h 445"/>
                <a:gd name="T36" fmla="*/ 0 w 265"/>
                <a:gd name="T37"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5" h="445">
                  <a:moveTo>
                    <a:pt x="130" y="420"/>
                  </a:moveTo>
                  <a:cubicBezTo>
                    <a:pt x="190" y="420"/>
                    <a:pt x="238" y="369"/>
                    <a:pt x="238" y="281"/>
                  </a:cubicBezTo>
                  <a:cubicBezTo>
                    <a:pt x="238" y="197"/>
                    <a:pt x="194" y="143"/>
                    <a:pt x="133" y="143"/>
                  </a:cubicBezTo>
                  <a:cubicBezTo>
                    <a:pt x="77" y="143"/>
                    <a:pt x="25" y="184"/>
                    <a:pt x="25" y="282"/>
                  </a:cubicBezTo>
                  <a:cubicBezTo>
                    <a:pt x="25" y="351"/>
                    <a:pt x="59" y="420"/>
                    <a:pt x="130" y="420"/>
                  </a:cubicBezTo>
                  <a:moveTo>
                    <a:pt x="0" y="0"/>
                  </a:moveTo>
                  <a:cubicBezTo>
                    <a:pt x="26" y="0"/>
                    <a:pt x="26" y="0"/>
                    <a:pt x="26" y="0"/>
                  </a:cubicBezTo>
                  <a:cubicBezTo>
                    <a:pt x="26" y="163"/>
                    <a:pt x="26" y="163"/>
                    <a:pt x="26" y="163"/>
                  </a:cubicBezTo>
                  <a:cubicBezTo>
                    <a:pt x="26" y="177"/>
                    <a:pt x="23" y="188"/>
                    <a:pt x="23" y="188"/>
                  </a:cubicBezTo>
                  <a:cubicBezTo>
                    <a:pt x="24" y="188"/>
                    <a:pt x="24" y="188"/>
                    <a:pt x="24" y="188"/>
                  </a:cubicBezTo>
                  <a:cubicBezTo>
                    <a:pt x="24" y="188"/>
                    <a:pt x="50" y="117"/>
                    <a:pt x="134" y="117"/>
                  </a:cubicBezTo>
                  <a:cubicBezTo>
                    <a:pt x="215" y="117"/>
                    <a:pt x="265" y="185"/>
                    <a:pt x="265" y="281"/>
                  </a:cubicBezTo>
                  <a:cubicBezTo>
                    <a:pt x="265" y="381"/>
                    <a:pt x="208" y="445"/>
                    <a:pt x="129" y="445"/>
                  </a:cubicBezTo>
                  <a:cubicBezTo>
                    <a:pt x="53" y="445"/>
                    <a:pt x="24" y="374"/>
                    <a:pt x="24" y="374"/>
                  </a:cubicBezTo>
                  <a:cubicBezTo>
                    <a:pt x="23" y="374"/>
                    <a:pt x="23" y="374"/>
                    <a:pt x="23" y="374"/>
                  </a:cubicBezTo>
                  <a:cubicBezTo>
                    <a:pt x="23" y="374"/>
                    <a:pt x="26" y="386"/>
                    <a:pt x="26" y="402"/>
                  </a:cubicBezTo>
                  <a:cubicBezTo>
                    <a:pt x="26" y="438"/>
                    <a:pt x="26" y="438"/>
                    <a:pt x="26"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3" name="Freeform 32">
              <a:extLst>
                <a:ext uri="{FF2B5EF4-FFF2-40B4-BE49-F238E27FC236}">
                  <a16:creationId xmlns:a16="http://schemas.microsoft.com/office/drawing/2014/main" id="{8E6B1AD7-A0D0-5C48-BCEF-3DBAD8894A28}"/>
                </a:ext>
              </a:extLst>
            </p:cNvPr>
            <p:cNvSpPr>
              <a:spLocks/>
            </p:cNvSpPr>
            <p:nvPr/>
          </p:nvSpPr>
          <p:spPr bwMode="auto">
            <a:xfrm>
              <a:off x="8070851" y="665163"/>
              <a:ext cx="536575" cy="844550"/>
            </a:xfrm>
            <a:custGeom>
              <a:avLst/>
              <a:gdLst>
                <a:gd name="T0" fmla="*/ 12 w 282"/>
                <a:gd name="T1" fmla="*/ 404 h 444"/>
                <a:gd name="T2" fmla="*/ 49 w 282"/>
                <a:gd name="T3" fmla="*/ 419 h 444"/>
                <a:gd name="T4" fmla="*/ 109 w 282"/>
                <a:gd name="T5" fmla="*/ 363 h 444"/>
                <a:gd name="T6" fmla="*/ 131 w 282"/>
                <a:gd name="T7" fmla="*/ 311 h 444"/>
                <a:gd name="T8" fmla="*/ 5 w 282"/>
                <a:gd name="T9" fmla="*/ 0 h 444"/>
                <a:gd name="T10" fmla="*/ 32 w 282"/>
                <a:gd name="T11" fmla="*/ 0 h 444"/>
                <a:gd name="T12" fmla="*/ 132 w 282"/>
                <a:gd name="T13" fmla="*/ 250 h 444"/>
                <a:gd name="T14" fmla="*/ 143 w 282"/>
                <a:gd name="T15" fmla="*/ 279 h 444"/>
                <a:gd name="T16" fmla="*/ 144 w 282"/>
                <a:gd name="T17" fmla="*/ 279 h 444"/>
                <a:gd name="T18" fmla="*/ 155 w 282"/>
                <a:gd name="T19" fmla="*/ 250 h 444"/>
                <a:gd name="T20" fmla="*/ 255 w 282"/>
                <a:gd name="T21" fmla="*/ 0 h 444"/>
                <a:gd name="T22" fmla="*/ 282 w 282"/>
                <a:gd name="T23" fmla="*/ 0 h 444"/>
                <a:gd name="T24" fmla="*/ 126 w 282"/>
                <a:gd name="T25" fmla="*/ 386 h 444"/>
                <a:gd name="T26" fmla="*/ 49 w 282"/>
                <a:gd name="T27" fmla="*/ 444 h 444"/>
                <a:gd name="T28" fmla="*/ 0 w 282"/>
                <a:gd name="T29" fmla="*/ 426 h 444"/>
                <a:gd name="T30" fmla="*/ 12 w 282"/>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444">
                  <a:moveTo>
                    <a:pt x="12" y="404"/>
                  </a:moveTo>
                  <a:cubicBezTo>
                    <a:pt x="12" y="404"/>
                    <a:pt x="29" y="419"/>
                    <a:pt x="49" y="419"/>
                  </a:cubicBezTo>
                  <a:cubicBezTo>
                    <a:pt x="78" y="419"/>
                    <a:pt x="97" y="392"/>
                    <a:pt x="109" y="363"/>
                  </a:cubicBezTo>
                  <a:cubicBezTo>
                    <a:pt x="131" y="311"/>
                    <a:pt x="131" y="311"/>
                    <a:pt x="131" y="311"/>
                  </a:cubicBezTo>
                  <a:cubicBezTo>
                    <a:pt x="5" y="0"/>
                    <a:pt x="5" y="0"/>
                    <a:pt x="5" y="0"/>
                  </a:cubicBezTo>
                  <a:cubicBezTo>
                    <a:pt x="32" y="0"/>
                    <a:pt x="32" y="0"/>
                    <a:pt x="32" y="0"/>
                  </a:cubicBezTo>
                  <a:cubicBezTo>
                    <a:pt x="132" y="250"/>
                    <a:pt x="132" y="250"/>
                    <a:pt x="132" y="250"/>
                  </a:cubicBezTo>
                  <a:cubicBezTo>
                    <a:pt x="138" y="264"/>
                    <a:pt x="143" y="279"/>
                    <a:pt x="143" y="279"/>
                  </a:cubicBezTo>
                  <a:cubicBezTo>
                    <a:pt x="144" y="279"/>
                    <a:pt x="144" y="279"/>
                    <a:pt x="144" y="279"/>
                  </a:cubicBezTo>
                  <a:cubicBezTo>
                    <a:pt x="144" y="279"/>
                    <a:pt x="149" y="264"/>
                    <a:pt x="155" y="250"/>
                  </a:cubicBezTo>
                  <a:cubicBezTo>
                    <a:pt x="255" y="0"/>
                    <a:pt x="255" y="0"/>
                    <a:pt x="255" y="0"/>
                  </a:cubicBezTo>
                  <a:cubicBezTo>
                    <a:pt x="282" y="0"/>
                    <a:pt x="282" y="0"/>
                    <a:pt x="282" y="0"/>
                  </a:cubicBezTo>
                  <a:cubicBezTo>
                    <a:pt x="126" y="386"/>
                    <a:pt x="126" y="386"/>
                    <a:pt x="126" y="386"/>
                  </a:cubicBezTo>
                  <a:cubicBezTo>
                    <a:pt x="113" y="418"/>
                    <a:pt x="88" y="444"/>
                    <a:pt x="49" y="444"/>
                  </a:cubicBezTo>
                  <a:cubicBezTo>
                    <a:pt x="20" y="444"/>
                    <a:pt x="0" y="426"/>
                    <a:pt x="0" y="426"/>
                  </a:cubicBezTo>
                  <a:lnTo>
                    <a:pt x="12"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4" name="Freeform 33">
              <a:extLst>
                <a:ext uri="{FF2B5EF4-FFF2-40B4-BE49-F238E27FC236}">
                  <a16:creationId xmlns:a16="http://schemas.microsoft.com/office/drawing/2014/main" id="{F91B1662-560F-784A-9FD6-EEEF6D1BDF4C}"/>
                </a:ext>
              </a:extLst>
            </p:cNvPr>
            <p:cNvSpPr>
              <a:spLocks noEditPoints="1"/>
            </p:cNvSpPr>
            <p:nvPr/>
          </p:nvSpPr>
          <p:spPr bwMode="auto">
            <a:xfrm>
              <a:off x="8963026" y="644526"/>
              <a:ext cx="552450" cy="854075"/>
            </a:xfrm>
            <a:custGeom>
              <a:avLst/>
              <a:gdLst>
                <a:gd name="T0" fmla="*/ 143 w 291"/>
                <a:gd name="T1" fmla="*/ 279 h 449"/>
                <a:gd name="T2" fmla="*/ 231 w 291"/>
                <a:gd name="T3" fmla="*/ 166 h 449"/>
                <a:gd name="T4" fmla="*/ 145 w 291"/>
                <a:gd name="T5" fmla="*/ 53 h 449"/>
                <a:gd name="T6" fmla="*/ 57 w 291"/>
                <a:gd name="T7" fmla="*/ 167 h 449"/>
                <a:gd name="T8" fmla="*/ 143 w 291"/>
                <a:gd name="T9" fmla="*/ 279 h 449"/>
                <a:gd name="T10" fmla="*/ 0 w 291"/>
                <a:gd name="T11" fmla="*/ 7 h 449"/>
                <a:gd name="T12" fmla="*/ 54 w 291"/>
                <a:gd name="T13" fmla="*/ 7 h 449"/>
                <a:gd name="T14" fmla="*/ 54 w 291"/>
                <a:gd name="T15" fmla="*/ 34 h 449"/>
                <a:gd name="T16" fmla="*/ 52 w 291"/>
                <a:gd name="T17" fmla="*/ 57 h 449"/>
                <a:gd name="T18" fmla="*/ 54 w 291"/>
                <a:gd name="T19" fmla="*/ 57 h 449"/>
                <a:gd name="T20" fmla="*/ 156 w 291"/>
                <a:gd name="T21" fmla="*/ 0 h 449"/>
                <a:gd name="T22" fmla="*/ 291 w 291"/>
                <a:gd name="T23" fmla="*/ 165 h 449"/>
                <a:gd name="T24" fmla="*/ 152 w 291"/>
                <a:gd name="T25" fmla="*/ 331 h 449"/>
                <a:gd name="T26" fmla="*/ 58 w 291"/>
                <a:gd name="T27" fmla="*/ 279 h 449"/>
                <a:gd name="T28" fmla="*/ 57 w 291"/>
                <a:gd name="T29" fmla="*/ 279 h 449"/>
                <a:gd name="T30" fmla="*/ 58 w 291"/>
                <a:gd name="T31" fmla="*/ 307 h 449"/>
                <a:gd name="T32" fmla="*/ 58 w 291"/>
                <a:gd name="T33" fmla="*/ 449 h 449"/>
                <a:gd name="T34" fmla="*/ 0 w 291"/>
                <a:gd name="T35" fmla="*/ 449 h 449"/>
                <a:gd name="T36" fmla="*/ 0 w 291"/>
                <a:gd name="T37" fmla="*/ 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449">
                  <a:moveTo>
                    <a:pt x="143" y="279"/>
                  </a:moveTo>
                  <a:cubicBezTo>
                    <a:pt x="192" y="279"/>
                    <a:pt x="231" y="238"/>
                    <a:pt x="231" y="166"/>
                  </a:cubicBezTo>
                  <a:cubicBezTo>
                    <a:pt x="231" y="97"/>
                    <a:pt x="196" y="53"/>
                    <a:pt x="145" y="53"/>
                  </a:cubicBezTo>
                  <a:cubicBezTo>
                    <a:pt x="99" y="53"/>
                    <a:pt x="57" y="86"/>
                    <a:pt x="57" y="167"/>
                  </a:cubicBezTo>
                  <a:cubicBezTo>
                    <a:pt x="57" y="223"/>
                    <a:pt x="87" y="279"/>
                    <a:pt x="143" y="279"/>
                  </a:cubicBezTo>
                  <a:moveTo>
                    <a:pt x="0" y="7"/>
                  </a:moveTo>
                  <a:cubicBezTo>
                    <a:pt x="54" y="7"/>
                    <a:pt x="54" y="7"/>
                    <a:pt x="54" y="7"/>
                  </a:cubicBezTo>
                  <a:cubicBezTo>
                    <a:pt x="54" y="34"/>
                    <a:pt x="54" y="34"/>
                    <a:pt x="54" y="34"/>
                  </a:cubicBezTo>
                  <a:cubicBezTo>
                    <a:pt x="54" y="47"/>
                    <a:pt x="52" y="57"/>
                    <a:pt x="52" y="57"/>
                  </a:cubicBezTo>
                  <a:cubicBezTo>
                    <a:pt x="54" y="57"/>
                    <a:pt x="54" y="57"/>
                    <a:pt x="54" y="57"/>
                  </a:cubicBezTo>
                  <a:cubicBezTo>
                    <a:pt x="54" y="57"/>
                    <a:pt x="80" y="0"/>
                    <a:pt x="156" y="0"/>
                  </a:cubicBezTo>
                  <a:cubicBezTo>
                    <a:pt x="239" y="0"/>
                    <a:pt x="291" y="67"/>
                    <a:pt x="291" y="165"/>
                  </a:cubicBezTo>
                  <a:cubicBezTo>
                    <a:pt x="291" y="266"/>
                    <a:pt x="232" y="331"/>
                    <a:pt x="152" y="331"/>
                  </a:cubicBezTo>
                  <a:cubicBezTo>
                    <a:pt x="85" y="331"/>
                    <a:pt x="58" y="279"/>
                    <a:pt x="58" y="279"/>
                  </a:cubicBezTo>
                  <a:cubicBezTo>
                    <a:pt x="57" y="279"/>
                    <a:pt x="57" y="279"/>
                    <a:pt x="57" y="279"/>
                  </a:cubicBezTo>
                  <a:cubicBezTo>
                    <a:pt x="57" y="279"/>
                    <a:pt x="58" y="290"/>
                    <a:pt x="58" y="307"/>
                  </a:cubicBezTo>
                  <a:cubicBezTo>
                    <a:pt x="58" y="449"/>
                    <a:pt x="58" y="449"/>
                    <a:pt x="58" y="449"/>
                  </a:cubicBezTo>
                  <a:cubicBezTo>
                    <a:pt x="0" y="449"/>
                    <a:pt x="0" y="449"/>
                    <a:pt x="0" y="449"/>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5" name="Freeform 34">
              <a:extLst>
                <a:ext uri="{FF2B5EF4-FFF2-40B4-BE49-F238E27FC236}">
                  <a16:creationId xmlns:a16="http://schemas.microsoft.com/office/drawing/2014/main" id="{731D26DC-F3E8-9E45-B015-D6F78AE1DF15}"/>
                </a:ext>
              </a:extLst>
            </p:cNvPr>
            <p:cNvSpPr>
              <a:spLocks noEditPoints="1"/>
            </p:cNvSpPr>
            <p:nvPr/>
          </p:nvSpPr>
          <p:spPr bwMode="auto">
            <a:xfrm>
              <a:off x="9561513" y="644526"/>
              <a:ext cx="485775" cy="630238"/>
            </a:xfrm>
            <a:custGeom>
              <a:avLst/>
              <a:gdLst>
                <a:gd name="T0" fmla="*/ 116 w 256"/>
                <a:gd name="T1" fmla="*/ 282 h 331"/>
                <a:gd name="T2" fmla="*/ 198 w 256"/>
                <a:gd name="T3" fmla="*/ 182 h 331"/>
                <a:gd name="T4" fmla="*/ 198 w 256"/>
                <a:gd name="T5" fmla="*/ 172 h 331"/>
                <a:gd name="T6" fmla="*/ 183 w 256"/>
                <a:gd name="T7" fmla="*/ 172 h 331"/>
                <a:gd name="T8" fmla="*/ 59 w 256"/>
                <a:gd name="T9" fmla="*/ 232 h 331"/>
                <a:gd name="T10" fmla="*/ 116 w 256"/>
                <a:gd name="T11" fmla="*/ 282 h 331"/>
                <a:gd name="T12" fmla="*/ 184 w 256"/>
                <a:gd name="T13" fmla="*/ 126 h 331"/>
                <a:gd name="T14" fmla="*/ 198 w 256"/>
                <a:gd name="T15" fmla="*/ 126 h 331"/>
                <a:gd name="T16" fmla="*/ 198 w 256"/>
                <a:gd name="T17" fmla="*/ 120 h 331"/>
                <a:gd name="T18" fmla="*/ 130 w 256"/>
                <a:gd name="T19" fmla="*/ 51 h 331"/>
                <a:gd name="T20" fmla="*/ 45 w 256"/>
                <a:gd name="T21" fmla="*/ 82 h 331"/>
                <a:gd name="T22" fmla="*/ 21 w 256"/>
                <a:gd name="T23" fmla="*/ 37 h 331"/>
                <a:gd name="T24" fmla="*/ 135 w 256"/>
                <a:gd name="T25" fmla="*/ 0 h 331"/>
                <a:gd name="T26" fmla="*/ 256 w 256"/>
                <a:gd name="T27" fmla="*/ 124 h 331"/>
                <a:gd name="T28" fmla="*/ 256 w 256"/>
                <a:gd name="T29" fmla="*/ 324 h 331"/>
                <a:gd name="T30" fmla="*/ 202 w 256"/>
                <a:gd name="T31" fmla="*/ 324 h 331"/>
                <a:gd name="T32" fmla="*/ 202 w 256"/>
                <a:gd name="T33" fmla="*/ 294 h 331"/>
                <a:gd name="T34" fmla="*/ 203 w 256"/>
                <a:gd name="T35" fmla="*/ 269 h 331"/>
                <a:gd name="T36" fmla="*/ 202 w 256"/>
                <a:gd name="T37" fmla="*/ 269 h 331"/>
                <a:gd name="T38" fmla="*/ 104 w 256"/>
                <a:gd name="T39" fmla="*/ 331 h 331"/>
                <a:gd name="T40" fmla="*/ 0 w 256"/>
                <a:gd name="T41" fmla="*/ 235 h 331"/>
                <a:gd name="T42" fmla="*/ 184 w 256"/>
                <a:gd name="T4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6" h="331">
                  <a:moveTo>
                    <a:pt x="116" y="282"/>
                  </a:moveTo>
                  <a:cubicBezTo>
                    <a:pt x="166" y="282"/>
                    <a:pt x="198" y="229"/>
                    <a:pt x="198" y="182"/>
                  </a:cubicBezTo>
                  <a:cubicBezTo>
                    <a:pt x="198" y="172"/>
                    <a:pt x="198" y="172"/>
                    <a:pt x="198" y="172"/>
                  </a:cubicBezTo>
                  <a:cubicBezTo>
                    <a:pt x="183" y="172"/>
                    <a:pt x="183" y="172"/>
                    <a:pt x="183" y="172"/>
                  </a:cubicBezTo>
                  <a:cubicBezTo>
                    <a:pt x="139" y="172"/>
                    <a:pt x="59" y="175"/>
                    <a:pt x="59" y="232"/>
                  </a:cubicBezTo>
                  <a:cubicBezTo>
                    <a:pt x="59" y="257"/>
                    <a:pt x="78" y="282"/>
                    <a:pt x="116" y="282"/>
                  </a:cubicBezTo>
                  <a:moveTo>
                    <a:pt x="184" y="126"/>
                  </a:moveTo>
                  <a:cubicBezTo>
                    <a:pt x="198" y="126"/>
                    <a:pt x="198" y="126"/>
                    <a:pt x="198" y="126"/>
                  </a:cubicBezTo>
                  <a:cubicBezTo>
                    <a:pt x="198" y="120"/>
                    <a:pt x="198" y="120"/>
                    <a:pt x="198" y="120"/>
                  </a:cubicBezTo>
                  <a:cubicBezTo>
                    <a:pt x="198" y="68"/>
                    <a:pt x="169" y="51"/>
                    <a:pt x="130" y="51"/>
                  </a:cubicBezTo>
                  <a:cubicBezTo>
                    <a:pt x="83" y="51"/>
                    <a:pt x="45" y="82"/>
                    <a:pt x="45" y="82"/>
                  </a:cubicBezTo>
                  <a:cubicBezTo>
                    <a:pt x="21" y="37"/>
                    <a:pt x="21" y="37"/>
                    <a:pt x="21" y="37"/>
                  </a:cubicBezTo>
                  <a:cubicBezTo>
                    <a:pt x="21" y="37"/>
                    <a:pt x="65" y="0"/>
                    <a:pt x="135" y="0"/>
                  </a:cubicBezTo>
                  <a:cubicBezTo>
                    <a:pt x="213" y="0"/>
                    <a:pt x="256" y="44"/>
                    <a:pt x="256" y="124"/>
                  </a:cubicBezTo>
                  <a:cubicBezTo>
                    <a:pt x="256" y="324"/>
                    <a:pt x="256" y="324"/>
                    <a:pt x="256" y="324"/>
                  </a:cubicBezTo>
                  <a:cubicBezTo>
                    <a:pt x="202" y="324"/>
                    <a:pt x="202" y="324"/>
                    <a:pt x="202" y="324"/>
                  </a:cubicBezTo>
                  <a:cubicBezTo>
                    <a:pt x="202" y="294"/>
                    <a:pt x="202" y="294"/>
                    <a:pt x="202" y="294"/>
                  </a:cubicBezTo>
                  <a:cubicBezTo>
                    <a:pt x="202" y="279"/>
                    <a:pt x="203" y="269"/>
                    <a:pt x="203" y="269"/>
                  </a:cubicBezTo>
                  <a:cubicBezTo>
                    <a:pt x="202" y="269"/>
                    <a:pt x="202" y="269"/>
                    <a:pt x="202" y="269"/>
                  </a:cubicBezTo>
                  <a:cubicBezTo>
                    <a:pt x="202" y="269"/>
                    <a:pt x="177" y="331"/>
                    <a:pt x="104" y="331"/>
                  </a:cubicBezTo>
                  <a:cubicBezTo>
                    <a:pt x="51" y="331"/>
                    <a:pt x="0" y="298"/>
                    <a:pt x="0" y="235"/>
                  </a:cubicBezTo>
                  <a:cubicBezTo>
                    <a:pt x="0" y="130"/>
                    <a:pt x="133" y="126"/>
                    <a:pt x="184" y="126"/>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6" name="Freeform 35">
              <a:extLst>
                <a:ext uri="{FF2B5EF4-FFF2-40B4-BE49-F238E27FC236}">
                  <a16:creationId xmlns:a16="http://schemas.microsoft.com/office/drawing/2014/main" id="{8FAA521A-968C-CD4B-8A59-CAF7F55FA214}"/>
                </a:ext>
              </a:extLst>
            </p:cNvPr>
            <p:cNvSpPr>
              <a:spLocks/>
            </p:cNvSpPr>
            <p:nvPr/>
          </p:nvSpPr>
          <p:spPr bwMode="auto">
            <a:xfrm>
              <a:off x="10104438" y="492126"/>
              <a:ext cx="338138" cy="773113"/>
            </a:xfrm>
            <a:custGeom>
              <a:avLst/>
              <a:gdLst>
                <a:gd name="T0" fmla="*/ 40 w 178"/>
                <a:gd name="T1" fmla="*/ 140 h 406"/>
                <a:gd name="T2" fmla="*/ 0 w 178"/>
                <a:gd name="T3" fmla="*/ 140 h 406"/>
                <a:gd name="T4" fmla="*/ 0 w 178"/>
                <a:gd name="T5" fmla="*/ 92 h 406"/>
                <a:gd name="T6" fmla="*/ 42 w 178"/>
                <a:gd name="T7" fmla="*/ 92 h 406"/>
                <a:gd name="T8" fmla="*/ 42 w 178"/>
                <a:gd name="T9" fmla="*/ 0 h 406"/>
                <a:gd name="T10" fmla="*/ 99 w 178"/>
                <a:gd name="T11" fmla="*/ 0 h 406"/>
                <a:gd name="T12" fmla="*/ 99 w 178"/>
                <a:gd name="T13" fmla="*/ 92 h 406"/>
                <a:gd name="T14" fmla="*/ 173 w 178"/>
                <a:gd name="T15" fmla="*/ 92 h 406"/>
                <a:gd name="T16" fmla="*/ 173 w 178"/>
                <a:gd name="T17" fmla="*/ 140 h 406"/>
                <a:gd name="T18" fmla="*/ 99 w 178"/>
                <a:gd name="T19" fmla="*/ 140 h 406"/>
                <a:gd name="T20" fmla="*/ 99 w 178"/>
                <a:gd name="T21" fmla="*/ 281 h 406"/>
                <a:gd name="T22" fmla="*/ 164 w 178"/>
                <a:gd name="T23" fmla="*/ 352 h 406"/>
                <a:gd name="T24" fmla="*/ 178 w 178"/>
                <a:gd name="T25" fmla="*/ 351 h 406"/>
                <a:gd name="T26" fmla="*/ 178 w 178"/>
                <a:gd name="T27" fmla="*/ 405 h 406"/>
                <a:gd name="T28" fmla="*/ 158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2" y="92"/>
                    <a:pt x="42" y="92"/>
                    <a:pt x="42" y="92"/>
                  </a:cubicBezTo>
                  <a:cubicBezTo>
                    <a:pt x="42" y="0"/>
                    <a:pt x="42" y="0"/>
                    <a:pt x="42" y="0"/>
                  </a:cubicBezTo>
                  <a:cubicBezTo>
                    <a:pt x="99" y="0"/>
                    <a:pt x="99" y="0"/>
                    <a:pt x="99" y="0"/>
                  </a:cubicBezTo>
                  <a:cubicBezTo>
                    <a:pt x="99" y="92"/>
                    <a:pt x="99" y="92"/>
                    <a:pt x="99" y="92"/>
                  </a:cubicBezTo>
                  <a:cubicBezTo>
                    <a:pt x="173" y="92"/>
                    <a:pt x="173" y="92"/>
                    <a:pt x="173" y="92"/>
                  </a:cubicBezTo>
                  <a:cubicBezTo>
                    <a:pt x="173" y="140"/>
                    <a:pt x="173" y="140"/>
                    <a:pt x="173" y="140"/>
                  </a:cubicBezTo>
                  <a:cubicBezTo>
                    <a:pt x="99" y="140"/>
                    <a:pt x="99" y="140"/>
                    <a:pt x="99" y="140"/>
                  </a:cubicBezTo>
                  <a:cubicBezTo>
                    <a:pt x="99" y="281"/>
                    <a:pt x="99" y="281"/>
                    <a:pt x="99" y="281"/>
                  </a:cubicBezTo>
                  <a:cubicBezTo>
                    <a:pt x="99" y="344"/>
                    <a:pt x="142" y="352"/>
                    <a:pt x="164" y="352"/>
                  </a:cubicBezTo>
                  <a:cubicBezTo>
                    <a:pt x="173" y="352"/>
                    <a:pt x="178" y="351"/>
                    <a:pt x="178" y="351"/>
                  </a:cubicBezTo>
                  <a:cubicBezTo>
                    <a:pt x="178" y="405"/>
                    <a:pt x="178" y="405"/>
                    <a:pt x="178" y="405"/>
                  </a:cubicBezTo>
                  <a:cubicBezTo>
                    <a:pt x="178" y="405"/>
                    <a:pt x="170" y="406"/>
                    <a:pt x="158"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7" name="Freeform 36">
              <a:extLst>
                <a:ext uri="{FF2B5EF4-FFF2-40B4-BE49-F238E27FC236}">
                  <a16:creationId xmlns:a16="http://schemas.microsoft.com/office/drawing/2014/main" id="{13ED5A3D-4D5E-7346-8599-9BFFDD3FA125}"/>
                </a:ext>
              </a:extLst>
            </p:cNvPr>
            <p:cNvSpPr>
              <a:spLocks noEditPoints="1"/>
            </p:cNvSpPr>
            <p:nvPr/>
          </p:nvSpPr>
          <p:spPr bwMode="auto">
            <a:xfrm>
              <a:off x="10509251" y="419101"/>
              <a:ext cx="111125" cy="841375"/>
            </a:xfrm>
            <a:custGeom>
              <a:avLst/>
              <a:gdLst>
                <a:gd name="T0" fmla="*/ 1 w 70"/>
                <a:gd name="T1" fmla="*/ 150 h 530"/>
                <a:gd name="T2" fmla="*/ 70 w 70"/>
                <a:gd name="T3" fmla="*/ 150 h 530"/>
                <a:gd name="T4" fmla="*/ 70 w 70"/>
                <a:gd name="T5" fmla="*/ 530 h 530"/>
                <a:gd name="T6" fmla="*/ 1 w 70"/>
                <a:gd name="T7" fmla="*/ 530 h 530"/>
                <a:gd name="T8" fmla="*/ 1 w 70"/>
                <a:gd name="T9" fmla="*/ 150 h 530"/>
                <a:gd name="T10" fmla="*/ 0 w 70"/>
                <a:gd name="T11" fmla="*/ 0 h 530"/>
                <a:gd name="T12" fmla="*/ 70 w 70"/>
                <a:gd name="T13" fmla="*/ 0 h 530"/>
                <a:gd name="T14" fmla="*/ 70 w 70"/>
                <a:gd name="T15" fmla="*/ 75 h 530"/>
                <a:gd name="T16" fmla="*/ 0 w 70"/>
                <a:gd name="T17" fmla="*/ 75 h 530"/>
                <a:gd name="T18" fmla="*/ 0 w 70"/>
                <a:gd name="T19"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530">
                  <a:moveTo>
                    <a:pt x="1" y="150"/>
                  </a:moveTo>
                  <a:lnTo>
                    <a:pt x="70" y="150"/>
                  </a:lnTo>
                  <a:lnTo>
                    <a:pt x="70" y="530"/>
                  </a:lnTo>
                  <a:lnTo>
                    <a:pt x="1" y="530"/>
                  </a:lnTo>
                  <a:lnTo>
                    <a:pt x="1" y="150"/>
                  </a:lnTo>
                  <a:close/>
                  <a:moveTo>
                    <a:pt x="0" y="0"/>
                  </a:moveTo>
                  <a:lnTo>
                    <a:pt x="70" y="0"/>
                  </a:lnTo>
                  <a:lnTo>
                    <a:pt x="70" y="75"/>
                  </a:lnTo>
                  <a:lnTo>
                    <a:pt x="0" y="7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8" name="Freeform 37">
              <a:extLst>
                <a:ext uri="{FF2B5EF4-FFF2-40B4-BE49-F238E27FC236}">
                  <a16:creationId xmlns:a16="http://schemas.microsoft.com/office/drawing/2014/main" id="{8C3D4942-1EFE-9541-BB74-62E866748C53}"/>
                </a:ext>
              </a:extLst>
            </p:cNvPr>
            <p:cNvSpPr>
              <a:spLocks noEditPoints="1"/>
            </p:cNvSpPr>
            <p:nvPr/>
          </p:nvSpPr>
          <p:spPr bwMode="auto">
            <a:xfrm>
              <a:off x="10712451" y="644526"/>
              <a:ext cx="542925" cy="630238"/>
            </a:xfrm>
            <a:custGeom>
              <a:avLst/>
              <a:gdLst>
                <a:gd name="T0" fmla="*/ 226 w 286"/>
                <a:gd name="T1" fmla="*/ 129 h 331"/>
                <a:gd name="T2" fmla="*/ 152 w 286"/>
                <a:gd name="T3" fmla="*/ 48 h 331"/>
                <a:gd name="T4" fmla="*/ 63 w 286"/>
                <a:gd name="T5" fmla="*/ 129 h 331"/>
                <a:gd name="T6" fmla="*/ 226 w 286"/>
                <a:gd name="T7" fmla="*/ 129 h 331"/>
                <a:gd name="T8" fmla="*/ 153 w 286"/>
                <a:gd name="T9" fmla="*/ 0 h 331"/>
                <a:gd name="T10" fmla="*/ 286 w 286"/>
                <a:gd name="T11" fmla="*/ 148 h 331"/>
                <a:gd name="T12" fmla="*/ 284 w 286"/>
                <a:gd name="T13" fmla="*/ 174 h 331"/>
                <a:gd name="T14" fmla="*/ 61 w 286"/>
                <a:gd name="T15" fmla="*/ 174 h 331"/>
                <a:gd name="T16" fmla="*/ 166 w 286"/>
                <a:gd name="T17" fmla="*/ 279 h 331"/>
                <a:gd name="T18" fmla="*/ 257 w 286"/>
                <a:gd name="T19" fmla="*/ 242 h 331"/>
                <a:gd name="T20" fmla="*/ 281 w 286"/>
                <a:gd name="T21" fmla="*/ 286 h 331"/>
                <a:gd name="T22" fmla="*/ 162 w 286"/>
                <a:gd name="T23" fmla="*/ 331 h 331"/>
                <a:gd name="T24" fmla="*/ 0 w 286"/>
                <a:gd name="T25" fmla="*/ 165 h 331"/>
                <a:gd name="T26" fmla="*/ 153 w 286"/>
                <a:gd name="T2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1">
                  <a:moveTo>
                    <a:pt x="226" y="129"/>
                  </a:moveTo>
                  <a:cubicBezTo>
                    <a:pt x="224" y="74"/>
                    <a:pt x="192" y="48"/>
                    <a:pt x="152" y="48"/>
                  </a:cubicBezTo>
                  <a:cubicBezTo>
                    <a:pt x="107" y="48"/>
                    <a:pt x="71" y="77"/>
                    <a:pt x="63" y="129"/>
                  </a:cubicBezTo>
                  <a:lnTo>
                    <a:pt x="226" y="129"/>
                  </a:lnTo>
                  <a:close/>
                  <a:moveTo>
                    <a:pt x="153" y="0"/>
                  </a:moveTo>
                  <a:cubicBezTo>
                    <a:pt x="240" y="0"/>
                    <a:pt x="286" y="66"/>
                    <a:pt x="286" y="148"/>
                  </a:cubicBezTo>
                  <a:cubicBezTo>
                    <a:pt x="286" y="156"/>
                    <a:pt x="284" y="174"/>
                    <a:pt x="284" y="174"/>
                  </a:cubicBezTo>
                  <a:cubicBezTo>
                    <a:pt x="61" y="174"/>
                    <a:pt x="61" y="174"/>
                    <a:pt x="61" y="174"/>
                  </a:cubicBezTo>
                  <a:cubicBezTo>
                    <a:pt x="64" y="244"/>
                    <a:pt x="112" y="279"/>
                    <a:pt x="166" y="279"/>
                  </a:cubicBezTo>
                  <a:cubicBezTo>
                    <a:pt x="219" y="279"/>
                    <a:pt x="257" y="242"/>
                    <a:pt x="257" y="242"/>
                  </a:cubicBezTo>
                  <a:cubicBezTo>
                    <a:pt x="281" y="286"/>
                    <a:pt x="281" y="286"/>
                    <a:pt x="281" y="286"/>
                  </a:cubicBezTo>
                  <a:cubicBezTo>
                    <a:pt x="281" y="286"/>
                    <a:pt x="236" y="331"/>
                    <a:pt x="162" y="331"/>
                  </a:cubicBezTo>
                  <a:cubicBezTo>
                    <a:pt x="66" y="331"/>
                    <a:pt x="0" y="259"/>
                    <a:pt x="0" y="165"/>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9" name="Freeform 38">
              <a:extLst>
                <a:ext uri="{FF2B5EF4-FFF2-40B4-BE49-F238E27FC236}">
                  <a16:creationId xmlns:a16="http://schemas.microsoft.com/office/drawing/2014/main" id="{08097239-3B22-A84D-A6DF-2CD8DE9C63DB}"/>
                </a:ext>
              </a:extLst>
            </p:cNvPr>
            <p:cNvSpPr>
              <a:spLocks/>
            </p:cNvSpPr>
            <p:nvPr/>
          </p:nvSpPr>
          <p:spPr bwMode="auto">
            <a:xfrm>
              <a:off x="11350626" y="644526"/>
              <a:ext cx="527050" cy="615950"/>
            </a:xfrm>
            <a:custGeom>
              <a:avLst/>
              <a:gdLst>
                <a:gd name="T0" fmla="*/ 0 w 277"/>
                <a:gd name="T1" fmla="*/ 7 h 324"/>
                <a:gd name="T2" fmla="*/ 56 w 277"/>
                <a:gd name="T3" fmla="*/ 7 h 324"/>
                <a:gd name="T4" fmla="*/ 56 w 277"/>
                <a:gd name="T5" fmla="*/ 49 h 324"/>
                <a:gd name="T6" fmla="*/ 55 w 277"/>
                <a:gd name="T7" fmla="*/ 72 h 324"/>
                <a:gd name="T8" fmla="*/ 56 w 277"/>
                <a:gd name="T9" fmla="*/ 72 h 324"/>
                <a:gd name="T10" fmla="*/ 171 w 277"/>
                <a:gd name="T11" fmla="*/ 0 h 324"/>
                <a:gd name="T12" fmla="*/ 277 w 277"/>
                <a:gd name="T13" fmla="*/ 121 h 324"/>
                <a:gd name="T14" fmla="*/ 277 w 277"/>
                <a:gd name="T15" fmla="*/ 324 h 324"/>
                <a:gd name="T16" fmla="*/ 218 w 277"/>
                <a:gd name="T17" fmla="*/ 324 h 324"/>
                <a:gd name="T18" fmla="*/ 218 w 277"/>
                <a:gd name="T19" fmla="*/ 135 h 324"/>
                <a:gd name="T20" fmla="*/ 160 w 277"/>
                <a:gd name="T21" fmla="*/ 55 h 324"/>
                <a:gd name="T22" fmla="*/ 63 w 277"/>
                <a:gd name="T23" fmla="*/ 133 h 324"/>
                <a:gd name="T24" fmla="*/ 58 w 277"/>
                <a:gd name="T25" fmla="*/ 175 h 324"/>
                <a:gd name="T26" fmla="*/ 58 w 277"/>
                <a:gd name="T27" fmla="*/ 324 h 324"/>
                <a:gd name="T28" fmla="*/ 0 w 277"/>
                <a:gd name="T29" fmla="*/ 324 h 324"/>
                <a:gd name="T30" fmla="*/ 0 w 277"/>
                <a:gd name="T31" fmla="*/ 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7"/>
                  </a:moveTo>
                  <a:cubicBezTo>
                    <a:pt x="56" y="7"/>
                    <a:pt x="56" y="7"/>
                    <a:pt x="56" y="7"/>
                  </a:cubicBezTo>
                  <a:cubicBezTo>
                    <a:pt x="56" y="49"/>
                    <a:pt x="56" y="49"/>
                    <a:pt x="56" y="49"/>
                  </a:cubicBezTo>
                  <a:cubicBezTo>
                    <a:pt x="56" y="62"/>
                    <a:pt x="55" y="72"/>
                    <a:pt x="55" y="72"/>
                  </a:cubicBezTo>
                  <a:cubicBezTo>
                    <a:pt x="56" y="72"/>
                    <a:pt x="56" y="72"/>
                    <a:pt x="56" y="72"/>
                  </a:cubicBezTo>
                  <a:cubicBezTo>
                    <a:pt x="69" y="45"/>
                    <a:pt x="105" y="0"/>
                    <a:pt x="171" y="0"/>
                  </a:cubicBezTo>
                  <a:cubicBezTo>
                    <a:pt x="243" y="0"/>
                    <a:pt x="277" y="40"/>
                    <a:pt x="277" y="121"/>
                  </a:cubicBezTo>
                  <a:cubicBezTo>
                    <a:pt x="277" y="324"/>
                    <a:pt x="277" y="324"/>
                    <a:pt x="277" y="324"/>
                  </a:cubicBezTo>
                  <a:cubicBezTo>
                    <a:pt x="218" y="324"/>
                    <a:pt x="218" y="324"/>
                    <a:pt x="218" y="324"/>
                  </a:cubicBezTo>
                  <a:cubicBezTo>
                    <a:pt x="218" y="135"/>
                    <a:pt x="218" y="135"/>
                    <a:pt x="218" y="135"/>
                  </a:cubicBezTo>
                  <a:cubicBezTo>
                    <a:pt x="218" y="90"/>
                    <a:pt x="209" y="55"/>
                    <a:pt x="160" y="55"/>
                  </a:cubicBezTo>
                  <a:cubicBezTo>
                    <a:pt x="113" y="55"/>
                    <a:pt x="76" y="87"/>
                    <a:pt x="63" y="133"/>
                  </a:cubicBezTo>
                  <a:cubicBezTo>
                    <a:pt x="59" y="145"/>
                    <a:pt x="58" y="160"/>
                    <a:pt x="58" y="175"/>
                  </a:cubicBezTo>
                  <a:cubicBezTo>
                    <a:pt x="58" y="324"/>
                    <a:pt x="58" y="324"/>
                    <a:pt x="58" y="324"/>
                  </a:cubicBezTo>
                  <a:cubicBezTo>
                    <a:pt x="0" y="324"/>
                    <a:pt x="0" y="324"/>
                    <a:pt x="0" y="324"/>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0" name="Freeform 39">
              <a:extLst>
                <a:ext uri="{FF2B5EF4-FFF2-40B4-BE49-F238E27FC236}">
                  <a16:creationId xmlns:a16="http://schemas.microsoft.com/office/drawing/2014/main" id="{BC1B8998-5FD2-5747-8943-5A87313043F1}"/>
                </a:ext>
              </a:extLst>
            </p:cNvPr>
            <p:cNvSpPr>
              <a:spLocks/>
            </p:cNvSpPr>
            <p:nvPr/>
          </p:nvSpPr>
          <p:spPr bwMode="auto">
            <a:xfrm>
              <a:off x="11933238" y="492126"/>
              <a:ext cx="339725" cy="773113"/>
            </a:xfrm>
            <a:custGeom>
              <a:avLst/>
              <a:gdLst>
                <a:gd name="T0" fmla="*/ 40 w 178"/>
                <a:gd name="T1" fmla="*/ 140 h 406"/>
                <a:gd name="T2" fmla="*/ 0 w 178"/>
                <a:gd name="T3" fmla="*/ 140 h 406"/>
                <a:gd name="T4" fmla="*/ 0 w 178"/>
                <a:gd name="T5" fmla="*/ 92 h 406"/>
                <a:gd name="T6" fmla="*/ 41 w 178"/>
                <a:gd name="T7" fmla="*/ 92 h 406"/>
                <a:gd name="T8" fmla="*/ 41 w 178"/>
                <a:gd name="T9" fmla="*/ 0 h 406"/>
                <a:gd name="T10" fmla="*/ 98 w 178"/>
                <a:gd name="T11" fmla="*/ 0 h 406"/>
                <a:gd name="T12" fmla="*/ 98 w 178"/>
                <a:gd name="T13" fmla="*/ 92 h 406"/>
                <a:gd name="T14" fmla="*/ 172 w 178"/>
                <a:gd name="T15" fmla="*/ 92 h 406"/>
                <a:gd name="T16" fmla="*/ 172 w 178"/>
                <a:gd name="T17" fmla="*/ 140 h 406"/>
                <a:gd name="T18" fmla="*/ 98 w 178"/>
                <a:gd name="T19" fmla="*/ 140 h 406"/>
                <a:gd name="T20" fmla="*/ 98 w 178"/>
                <a:gd name="T21" fmla="*/ 281 h 406"/>
                <a:gd name="T22" fmla="*/ 164 w 178"/>
                <a:gd name="T23" fmla="*/ 352 h 406"/>
                <a:gd name="T24" fmla="*/ 178 w 178"/>
                <a:gd name="T25" fmla="*/ 351 h 406"/>
                <a:gd name="T26" fmla="*/ 178 w 178"/>
                <a:gd name="T27" fmla="*/ 405 h 406"/>
                <a:gd name="T28" fmla="*/ 157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1" y="92"/>
                    <a:pt x="41" y="92"/>
                    <a:pt x="41" y="92"/>
                  </a:cubicBezTo>
                  <a:cubicBezTo>
                    <a:pt x="41" y="0"/>
                    <a:pt x="41" y="0"/>
                    <a:pt x="41" y="0"/>
                  </a:cubicBezTo>
                  <a:cubicBezTo>
                    <a:pt x="98" y="0"/>
                    <a:pt x="98" y="0"/>
                    <a:pt x="98" y="0"/>
                  </a:cubicBezTo>
                  <a:cubicBezTo>
                    <a:pt x="98" y="92"/>
                    <a:pt x="98" y="92"/>
                    <a:pt x="98" y="92"/>
                  </a:cubicBezTo>
                  <a:cubicBezTo>
                    <a:pt x="172" y="92"/>
                    <a:pt x="172" y="92"/>
                    <a:pt x="172" y="92"/>
                  </a:cubicBezTo>
                  <a:cubicBezTo>
                    <a:pt x="172" y="140"/>
                    <a:pt x="172" y="140"/>
                    <a:pt x="172" y="140"/>
                  </a:cubicBezTo>
                  <a:cubicBezTo>
                    <a:pt x="98" y="140"/>
                    <a:pt x="98" y="140"/>
                    <a:pt x="98" y="140"/>
                  </a:cubicBezTo>
                  <a:cubicBezTo>
                    <a:pt x="98" y="281"/>
                    <a:pt x="98" y="281"/>
                    <a:pt x="98" y="281"/>
                  </a:cubicBezTo>
                  <a:cubicBezTo>
                    <a:pt x="98" y="344"/>
                    <a:pt x="141" y="352"/>
                    <a:pt x="164" y="352"/>
                  </a:cubicBezTo>
                  <a:cubicBezTo>
                    <a:pt x="172" y="352"/>
                    <a:pt x="178" y="351"/>
                    <a:pt x="178" y="351"/>
                  </a:cubicBezTo>
                  <a:cubicBezTo>
                    <a:pt x="178" y="405"/>
                    <a:pt x="178" y="405"/>
                    <a:pt x="178" y="405"/>
                  </a:cubicBezTo>
                  <a:cubicBezTo>
                    <a:pt x="178" y="405"/>
                    <a:pt x="169" y="406"/>
                    <a:pt x="157"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1" name="Freeform 40">
              <a:extLst>
                <a:ext uri="{FF2B5EF4-FFF2-40B4-BE49-F238E27FC236}">
                  <a16:creationId xmlns:a16="http://schemas.microsoft.com/office/drawing/2014/main" id="{EAA25A28-653C-D14E-8678-1E37A45867E6}"/>
                </a:ext>
              </a:extLst>
            </p:cNvPr>
            <p:cNvSpPr>
              <a:spLocks/>
            </p:cNvSpPr>
            <p:nvPr/>
          </p:nvSpPr>
          <p:spPr bwMode="auto">
            <a:xfrm>
              <a:off x="12314238" y="644526"/>
              <a:ext cx="431800" cy="630238"/>
            </a:xfrm>
            <a:custGeom>
              <a:avLst/>
              <a:gdLst>
                <a:gd name="T0" fmla="*/ 28 w 227"/>
                <a:gd name="T1" fmla="*/ 242 h 331"/>
                <a:gd name="T2" fmla="*/ 116 w 227"/>
                <a:gd name="T3" fmla="*/ 279 h 331"/>
                <a:gd name="T4" fmla="*/ 167 w 227"/>
                <a:gd name="T5" fmla="*/ 239 h 331"/>
                <a:gd name="T6" fmla="*/ 10 w 227"/>
                <a:gd name="T7" fmla="*/ 90 h 331"/>
                <a:gd name="T8" fmla="*/ 120 w 227"/>
                <a:gd name="T9" fmla="*/ 0 h 331"/>
                <a:gd name="T10" fmla="*/ 219 w 227"/>
                <a:gd name="T11" fmla="*/ 35 h 331"/>
                <a:gd name="T12" fmla="*/ 195 w 227"/>
                <a:gd name="T13" fmla="*/ 80 h 331"/>
                <a:gd name="T14" fmla="*/ 120 w 227"/>
                <a:gd name="T15" fmla="*/ 52 h 331"/>
                <a:gd name="T16" fmla="*/ 70 w 227"/>
                <a:gd name="T17" fmla="*/ 91 h 331"/>
                <a:gd name="T18" fmla="*/ 227 w 227"/>
                <a:gd name="T19" fmla="*/ 239 h 331"/>
                <a:gd name="T20" fmla="*/ 116 w 227"/>
                <a:gd name="T21" fmla="*/ 331 h 331"/>
                <a:gd name="T22" fmla="*/ 0 w 227"/>
                <a:gd name="T23" fmla="*/ 285 h 331"/>
                <a:gd name="T24" fmla="*/ 28 w 227"/>
                <a:gd name="T25" fmla="*/ 24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1">
                  <a:moveTo>
                    <a:pt x="28" y="242"/>
                  </a:moveTo>
                  <a:cubicBezTo>
                    <a:pt x="28" y="242"/>
                    <a:pt x="63" y="279"/>
                    <a:pt x="116" y="279"/>
                  </a:cubicBezTo>
                  <a:cubicBezTo>
                    <a:pt x="142" y="279"/>
                    <a:pt x="167" y="265"/>
                    <a:pt x="167" y="239"/>
                  </a:cubicBezTo>
                  <a:cubicBezTo>
                    <a:pt x="167" y="181"/>
                    <a:pt x="10" y="193"/>
                    <a:pt x="10" y="90"/>
                  </a:cubicBezTo>
                  <a:cubicBezTo>
                    <a:pt x="10" y="32"/>
                    <a:pt x="59" y="0"/>
                    <a:pt x="120" y="0"/>
                  </a:cubicBezTo>
                  <a:cubicBezTo>
                    <a:pt x="188" y="0"/>
                    <a:pt x="219" y="35"/>
                    <a:pt x="219" y="35"/>
                  </a:cubicBezTo>
                  <a:cubicBezTo>
                    <a:pt x="195" y="80"/>
                    <a:pt x="195" y="80"/>
                    <a:pt x="195" y="80"/>
                  </a:cubicBezTo>
                  <a:cubicBezTo>
                    <a:pt x="195" y="80"/>
                    <a:pt x="168" y="52"/>
                    <a:pt x="120" y="52"/>
                  </a:cubicBezTo>
                  <a:cubicBezTo>
                    <a:pt x="94" y="52"/>
                    <a:pt x="70" y="63"/>
                    <a:pt x="70" y="91"/>
                  </a:cubicBezTo>
                  <a:cubicBezTo>
                    <a:pt x="70" y="148"/>
                    <a:pt x="227" y="135"/>
                    <a:pt x="227" y="239"/>
                  </a:cubicBezTo>
                  <a:cubicBezTo>
                    <a:pt x="227" y="292"/>
                    <a:pt x="183" y="331"/>
                    <a:pt x="116" y="331"/>
                  </a:cubicBezTo>
                  <a:cubicBezTo>
                    <a:pt x="41" y="331"/>
                    <a:pt x="0" y="285"/>
                    <a:pt x="0" y="285"/>
                  </a:cubicBezTo>
                  <a:lnTo>
                    <a:pt x="28"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2" name="Rectangle 41">
              <a:extLst>
                <a:ext uri="{FF2B5EF4-FFF2-40B4-BE49-F238E27FC236}">
                  <a16:creationId xmlns:a16="http://schemas.microsoft.com/office/drawing/2014/main" id="{90537320-0AA8-104B-8445-D90BE3E22DF6}"/>
                </a:ext>
              </a:extLst>
            </p:cNvPr>
            <p:cNvSpPr>
              <a:spLocks noChangeArrowheads="1"/>
            </p:cNvSpPr>
            <p:nvPr/>
          </p:nvSpPr>
          <p:spPr bwMode="auto">
            <a:xfrm>
              <a:off x="12846051" y="1136651"/>
              <a:ext cx="117475" cy="12382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3" name="Freeform 42">
              <a:extLst>
                <a:ext uri="{FF2B5EF4-FFF2-40B4-BE49-F238E27FC236}">
                  <a16:creationId xmlns:a16="http://schemas.microsoft.com/office/drawing/2014/main" id="{EF1D6FE9-AA4A-BB4A-90A6-F37E2B7785DD}"/>
                </a:ext>
              </a:extLst>
            </p:cNvPr>
            <p:cNvSpPr>
              <a:spLocks noEditPoints="1"/>
            </p:cNvSpPr>
            <p:nvPr/>
          </p:nvSpPr>
          <p:spPr bwMode="auto">
            <a:xfrm>
              <a:off x="3609976" y="1689101"/>
              <a:ext cx="654050" cy="833438"/>
            </a:xfrm>
            <a:custGeom>
              <a:avLst/>
              <a:gdLst>
                <a:gd name="T0" fmla="*/ 129 w 344"/>
                <a:gd name="T1" fmla="*/ 413 h 438"/>
                <a:gd name="T2" fmla="*/ 317 w 344"/>
                <a:gd name="T3" fmla="*/ 219 h 438"/>
                <a:gd name="T4" fmla="*/ 129 w 344"/>
                <a:gd name="T5" fmla="*/ 25 h 438"/>
                <a:gd name="T6" fmla="*/ 26 w 344"/>
                <a:gd name="T7" fmla="*/ 25 h 438"/>
                <a:gd name="T8" fmla="*/ 26 w 344"/>
                <a:gd name="T9" fmla="*/ 413 h 438"/>
                <a:gd name="T10" fmla="*/ 129 w 344"/>
                <a:gd name="T11" fmla="*/ 413 h 438"/>
                <a:gd name="T12" fmla="*/ 0 w 344"/>
                <a:gd name="T13" fmla="*/ 0 h 438"/>
                <a:gd name="T14" fmla="*/ 133 w 344"/>
                <a:gd name="T15" fmla="*/ 0 h 438"/>
                <a:gd name="T16" fmla="*/ 344 w 344"/>
                <a:gd name="T17" fmla="*/ 219 h 438"/>
                <a:gd name="T18" fmla="*/ 133 w 344"/>
                <a:gd name="T19" fmla="*/ 438 h 438"/>
                <a:gd name="T20" fmla="*/ 0 w 344"/>
                <a:gd name="T21" fmla="*/ 438 h 438"/>
                <a:gd name="T22" fmla="*/ 0 w 344"/>
                <a:gd name="T23"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 h="438">
                  <a:moveTo>
                    <a:pt x="129" y="413"/>
                  </a:moveTo>
                  <a:cubicBezTo>
                    <a:pt x="241" y="413"/>
                    <a:pt x="317" y="345"/>
                    <a:pt x="317" y="219"/>
                  </a:cubicBezTo>
                  <a:cubicBezTo>
                    <a:pt x="317" y="94"/>
                    <a:pt x="241" y="25"/>
                    <a:pt x="129" y="25"/>
                  </a:cubicBezTo>
                  <a:cubicBezTo>
                    <a:pt x="26" y="25"/>
                    <a:pt x="26" y="25"/>
                    <a:pt x="26" y="25"/>
                  </a:cubicBezTo>
                  <a:cubicBezTo>
                    <a:pt x="26" y="413"/>
                    <a:pt x="26" y="413"/>
                    <a:pt x="26" y="413"/>
                  </a:cubicBezTo>
                  <a:lnTo>
                    <a:pt x="129" y="413"/>
                  </a:lnTo>
                  <a:close/>
                  <a:moveTo>
                    <a:pt x="0" y="0"/>
                  </a:moveTo>
                  <a:cubicBezTo>
                    <a:pt x="133" y="0"/>
                    <a:pt x="133" y="0"/>
                    <a:pt x="133" y="0"/>
                  </a:cubicBezTo>
                  <a:cubicBezTo>
                    <a:pt x="259" y="0"/>
                    <a:pt x="344" y="80"/>
                    <a:pt x="344" y="219"/>
                  </a:cubicBezTo>
                  <a:cubicBezTo>
                    <a:pt x="344" y="359"/>
                    <a:pt x="259" y="438"/>
                    <a:pt x="133"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4" name="Freeform 43">
              <a:extLst>
                <a:ext uri="{FF2B5EF4-FFF2-40B4-BE49-F238E27FC236}">
                  <a16:creationId xmlns:a16="http://schemas.microsoft.com/office/drawing/2014/main" id="{E0EEE209-5D15-4E41-BBED-CDEB11240C8F}"/>
                </a:ext>
              </a:extLst>
            </p:cNvPr>
            <p:cNvSpPr>
              <a:spLocks/>
            </p:cNvSpPr>
            <p:nvPr/>
          </p:nvSpPr>
          <p:spPr bwMode="auto">
            <a:xfrm>
              <a:off x="4398963" y="1924051"/>
              <a:ext cx="263525" cy="598488"/>
            </a:xfrm>
            <a:custGeom>
              <a:avLst/>
              <a:gdLst>
                <a:gd name="T0" fmla="*/ 0 w 139"/>
                <a:gd name="T1" fmla="*/ 2 h 315"/>
                <a:gd name="T2" fmla="*/ 25 w 139"/>
                <a:gd name="T3" fmla="*/ 2 h 315"/>
                <a:gd name="T4" fmla="*/ 25 w 139"/>
                <a:gd name="T5" fmla="*/ 62 h 315"/>
                <a:gd name="T6" fmla="*/ 23 w 139"/>
                <a:gd name="T7" fmla="*/ 87 h 315"/>
                <a:gd name="T8" fmla="*/ 24 w 139"/>
                <a:gd name="T9" fmla="*/ 87 h 315"/>
                <a:gd name="T10" fmla="*/ 121 w 139"/>
                <a:gd name="T11" fmla="*/ 0 h 315"/>
                <a:gd name="T12" fmla="*/ 139 w 139"/>
                <a:gd name="T13" fmla="*/ 2 h 315"/>
                <a:gd name="T14" fmla="*/ 139 w 139"/>
                <a:gd name="T15" fmla="*/ 28 h 315"/>
                <a:gd name="T16" fmla="*/ 125 w 139"/>
                <a:gd name="T17" fmla="*/ 27 h 315"/>
                <a:gd name="T18" fmla="*/ 34 w 139"/>
                <a:gd name="T19" fmla="*/ 114 h 315"/>
                <a:gd name="T20" fmla="*/ 25 w 139"/>
                <a:gd name="T21" fmla="*/ 180 h 315"/>
                <a:gd name="T22" fmla="*/ 25 w 139"/>
                <a:gd name="T23" fmla="*/ 315 h 315"/>
                <a:gd name="T24" fmla="*/ 0 w 139"/>
                <a:gd name="T25" fmla="*/ 315 h 315"/>
                <a:gd name="T26" fmla="*/ 0 w 139"/>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315">
                  <a:moveTo>
                    <a:pt x="0" y="2"/>
                  </a:moveTo>
                  <a:cubicBezTo>
                    <a:pt x="25" y="2"/>
                    <a:pt x="25" y="2"/>
                    <a:pt x="25" y="2"/>
                  </a:cubicBezTo>
                  <a:cubicBezTo>
                    <a:pt x="25" y="62"/>
                    <a:pt x="25" y="62"/>
                    <a:pt x="25" y="62"/>
                  </a:cubicBezTo>
                  <a:cubicBezTo>
                    <a:pt x="25" y="76"/>
                    <a:pt x="23" y="87"/>
                    <a:pt x="23" y="87"/>
                  </a:cubicBezTo>
                  <a:cubicBezTo>
                    <a:pt x="24" y="87"/>
                    <a:pt x="24" y="87"/>
                    <a:pt x="24" y="87"/>
                  </a:cubicBezTo>
                  <a:cubicBezTo>
                    <a:pt x="39" y="39"/>
                    <a:pt x="73" y="0"/>
                    <a:pt x="121" y="0"/>
                  </a:cubicBezTo>
                  <a:cubicBezTo>
                    <a:pt x="130" y="0"/>
                    <a:pt x="139" y="2"/>
                    <a:pt x="139" y="2"/>
                  </a:cubicBezTo>
                  <a:cubicBezTo>
                    <a:pt x="139" y="28"/>
                    <a:pt x="139" y="28"/>
                    <a:pt x="139" y="28"/>
                  </a:cubicBezTo>
                  <a:cubicBezTo>
                    <a:pt x="139" y="28"/>
                    <a:pt x="131" y="27"/>
                    <a:pt x="125" y="27"/>
                  </a:cubicBezTo>
                  <a:cubicBezTo>
                    <a:pt x="77" y="27"/>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5" name="Freeform 44">
              <a:extLst>
                <a:ext uri="{FF2B5EF4-FFF2-40B4-BE49-F238E27FC236}">
                  <a16:creationId xmlns:a16="http://schemas.microsoft.com/office/drawing/2014/main" id="{5FDFCE35-BE30-5A48-A449-F6BC896187DA}"/>
                </a:ext>
              </a:extLst>
            </p:cNvPr>
            <p:cNvSpPr>
              <a:spLocks noEditPoints="1"/>
            </p:cNvSpPr>
            <p:nvPr/>
          </p:nvSpPr>
          <p:spPr bwMode="auto">
            <a:xfrm>
              <a:off x="4735513" y="1689101"/>
              <a:ext cx="57150" cy="833438"/>
            </a:xfrm>
            <a:custGeom>
              <a:avLst/>
              <a:gdLst>
                <a:gd name="T0" fmla="*/ 2 w 36"/>
                <a:gd name="T1" fmla="*/ 525 h 525"/>
                <a:gd name="T2" fmla="*/ 32 w 36"/>
                <a:gd name="T3" fmla="*/ 525 h 525"/>
                <a:gd name="T4" fmla="*/ 32 w 36"/>
                <a:gd name="T5" fmla="*/ 150 h 525"/>
                <a:gd name="T6" fmla="*/ 2 w 36"/>
                <a:gd name="T7" fmla="*/ 150 h 525"/>
                <a:gd name="T8" fmla="*/ 2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2" y="525"/>
                  </a:moveTo>
                  <a:lnTo>
                    <a:pt x="32" y="525"/>
                  </a:lnTo>
                  <a:lnTo>
                    <a:pt x="32" y="150"/>
                  </a:lnTo>
                  <a:lnTo>
                    <a:pt x="2" y="150"/>
                  </a:lnTo>
                  <a:lnTo>
                    <a:pt x="2"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6" name="Freeform 45">
              <a:extLst>
                <a:ext uri="{FF2B5EF4-FFF2-40B4-BE49-F238E27FC236}">
                  <a16:creationId xmlns:a16="http://schemas.microsoft.com/office/drawing/2014/main" id="{A601DC36-C1A5-7A4E-BCBF-00813474D077}"/>
                </a:ext>
              </a:extLst>
            </p:cNvPr>
            <p:cNvSpPr>
              <a:spLocks/>
            </p:cNvSpPr>
            <p:nvPr/>
          </p:nvSpPr>
          <p:spPr bwMode="auto">
            <a:xfrm>
              <a:off x="4860926" y="1927226"/>
              <a:ext cx="496888" cy="595313"/>
            </a:xfrm>
            <a:custGeom>
              <a:avLst/>
              <a:gdLst>
                <a:gd name="T0" fmla="*/ 0 w 262"/>
                <a:gd name="T1" fmla="*/ 0 h 313"/>
                <a:gd name="T2" fmla="*/ 28 w 262"/>
                <a:gd name="T3" fmla="*/ 0 h 313"/>
                <a:gd name="T4" fmla="*/ 121 w 262"/>
                <a:gd name="T5" fmla="*/ 246 h 313"/>
                <a:gd name="T6" fmla="*/ 131 w 262"/>
                <a:gd name="T7" fmla="*/ 279 h 313"/>
                <a:gd name="T8" fmla="*/ 132 w 262"/>
                <a:gd name="T9" fmla="*/ 279 h 313"/>
                <a:gd name="T10" fmla="*/ 143 w 262"/>
                <a:gd name="T11" fmla="*/ 246 h 313"/>
                <a:gd name="T12" fmla="*/ 236 w 262"/>
                <a:gd name="T13" fmla="*/ 0 h 313"/>
                <a:gd name="T14" fmla="*/ 262 w 262"/>
                <a:gd name="T15" fmla="*/ 0 h 313"/>
                <a:gd name="T16" fmla="*/ 144 w 262"/>
                <a:gd name="T17" fmla="*/ 313 h 313"/>
                <a:gd name="T18" fmla="*/ 120 w 262"/>
                <a:gd name="T19" fmla="*/ 313 h 313"/>
                <a:gd name="T20" fmla="*/ 0 w 262"/>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313">
                  <a:moveTo>
                    <a:pt x="0" y="0"/>
                  </a:moveTo>
                  <a:cubicBezTo>
                    <a:pt x="28" y="0"/>
                    <a:pt x="28" y="0"/>
                    <a:pt x="28" y="0"/>
                  </a:cubicBezTo>
                  <a:cubicBezTo>
                    <a:pt x="121" y="246"/>
                    <a:pt x="121" y="246"/>
                    <a:pt x="121" y="246"/>
                  </a:cubicBezTo>
                  <a:cubicBezTo>
                    <a:pt x="126" y="260"/>
                    <a:pt x="131" y="279"/>
                    <a:pt x="131" y="279"/>
                  </a:cubicBezTo>
                  <a:cubicBezTo>
                    <a:pt x="132" y="279"/>
                    <a:pt x="132" y="279"/>
                    <a:pt x="132" y="279"/>
                  </a:cubicBezTo>
                  <a:cubicBezTo>
                    <a:pt x="132" y="279"/>
                    <a:pt x="137" y="260"/>
                    <a:pt x="143" y="246"/>
                  </a:cubicBezTo>
                  <a:cubicBezTo>
                    <a:pt x="236" y="0"/>
                    <a:pt x="236" y="0"/>
                    <a:pt x="236" y="0"/>
                  </a:cubicBezTo>
                  <a:cubicBezTo>
                    <a:pt x="262" y="0"/>
                    <a:pt x="262" y="0"/>
                    <a:pt x="262" y="0"/>
                  </a:cubicBezTo>
                  <a:cubicBezTo>
                    <a:pt x="144" y="313"/>
                    <a:pt x="144" y="313"/>
                    <a:pt x="144" y="313"/>
                  </a:cubicBezTo>
                  <a:cubicBezTo>
                    <a:pt x="120" y="313"/>
                    <a:pt x="120" y="313"/>
                    <a:pt x="120" y="313"/>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7" name="Freeform 46">
              <a:extLst>
                <a:ext uri="{FF2B5EF4-FFF2-40B4-BE49-F238E27FC236}">
                  <a16:creationId xmlns:a16="http://schemas.microsoft.com/office/drawing/2014/main" id="{D54C74C1-1A4D-0746-9D8A-0C56B6D16872}"/>
                </a:ext>
              </a:extLst>
            </p:cNvPr>
            <p:cNvSpPr>
              <a:spLocks noEditPoints="1"/>
            </p:cNvSpPr>
            <p:nvPr/>
          </p:nvSpPr>
          <p:spPr bwMode="auto">
            <a:xfrm>
              <a:off x="5375276" y="1914526"/>
              <a:ext cx="512763" cy="623888"/>
            </a:xfrm>
            <a:custGeom>
              <a:avLst/>
              <a:gdLst>
                <a:gd name="T0" fmla="*/ 243 w 270"/>
                <a:gd name="T1" fmla="*/ 135 h 328"/>
                <a:gd name="T2" fmla="*/ 146 w 270"/>
                <a:gd name="T3" fmla="*/ 24 h 328"/>
                <a:gd name="T4" fmla="*/ 28 w 270"/>
                <a:gd name="T5" fmla="*/ 135 h 328"/>
                <a:gd name="T6" fmla="*/ 243 w 270"/>
                <a:gd name="T7" fmla="*/ 135 h 328"/>
                <a:gd name="T8" fmla="*/ 147 w 270"/>
                <a:gd name="T9" fmla="*/ 0 h 328"/>
                <a:gd name="T10" fmla="*/ 270 w 270"/>
                <a:gd name="T11" fmla="*/ 142 h 328"/>
                <a:gd name="T12" fmla="*/ 269 w 270"/>
                <a:gd name="T13" fmla="*/ 159 h 328"/>
                <a:gd name="T14" fmla="*/ 26 w 270"/>
                <a:gd name="T15" fmla="*/ 159 h 328"/>
                <a:gd name="T16" fmla="*/ 156 w 270"/>
                <a:gd name="T17" fmla="*/ 302 h 328"/>
                <a:gd name="T18" fmla="*/ 249 w 270"/>
                <a:gd name="T19" fmla="*/ 263 h 328"/>
                <a:gd name="T20" fmla="*/ 263 w 270"/>
                <a:gd name="T21" fmla="*/ 284 h 328"/>
                <a:gd name="T22" fmla="*/ 156 w 270"/>
                <a:gd name="T23" fmla="*/ 328 h 328"/>
                <a:gd name="T24" fmla="*/ 0 w 270"/>
                <a:gd name="T25" fmla="*/ 164 h 328"/>
                <a:gd name="T26" fmla="*/ 147 w 270"/>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0" h="328">
                  <a:moveTo>
                    <a:pt x="243" y="135"/>
                  </a:moveTo>
                  <a:cubicBezTo>
                    <a:pt x="240" y="59"/>
                    <a:pt x="196" y="24"/>
                    <a:pt x="146" y="24"/>
                  </a:cubicBezTo>
                  <a:cubicBezTo>
                    <a:pt x="90" y="24"/>
                    <a:pt x="39" y="62"/>
                    <a:pt x="28" y="135"/>
                  </a:cubicBezTo>
                  <a:lnTo>
                    <a:pt x="243" y="135"/>
                  </a:lnTo>
                  <a:close/>
                  <a:moveTo>
                    <a:pt x="147" y="0"/>
                  </a:moveTo>
                  <a:cubicBezTo>
                    <a:pt x="229" y="0"/>
                    <a:pt x="270" y="67"/>
                    <a:pt x="270" y="142"/>
                  </a:cubicBezTo>
                  <a:cubicBezTo>
                    <a:pt x="270" y="149"/>
                    <a:pt x="269" y="159"/>
                    <a:pt x="269" y="159"/>
                  </a:cubicBezTo>
                  <a:cubicBezTo>
                    <a:pt x="26" y="159"/>
                    <a:pt x="26" y="159"/>
                    <a:pt x="26" y="159"/>
                  </a:cubicBezTo>
                  <a:cubicBezTo>
                    <a:pt x="26" y="250"/>
                    <a:pt x="85" y="302"/>
                    <a:pt x="156" y="302"/>
                  </a:cubicBezTo>
                  <a:cubicBezTo>
                    <a:pt x="214" y="302"/>
                    <a:pt x="249" y="263"/>
                    <a:pt x="249" y="263"/>
                  </a:cubicBezTo>
                  <a:cubicBezTo>
                    <a:pt x="263" y="284"/>
                    <a:pt x="263" y="284"/>
                    <a:pt x="263" y="284"/>
                  </a:cubicBezTo>
                  <a:cubicBezTo>
                    <a:pt x="263" y="284"/>
                    <a:pt x="221" y="328"/>
                    <a:pt x="156" y="328"/>
                  </a:cubicBezTo>
                  <a:cubicBezTo>
                    <a:pt x="70" y="328"/>
                    <a:pt x="0" y="264"/>
                    <a:pt x="0" y="164"/>
                  </a:cubicBezTo>
                  <a:cubicBezTo>
                    <a:pt x="0" y="59"/>
                    <a:pt x="69"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8" name="Freeform 47">
              <a:extLst>
                <a:ext uri="{FF2B5EF4-FFF2-40B4-BE49-F238E27FC236}">
                  <a16:creationId xmlns:a16="http://schemas.microsoft.com/office/drawing/2014/main" id="{30FA9AF8-C3B9-E741-BC05-3856E817A1AC}"/>
                </a:ext>
              </a:extLst>
            </p:cNvPr>
            <p:cNvSpPr>
              <a:spLocks/>
            </p:cNvSpPr>
            <p:nvPr/>
          </p:nvSpPr>
          <p:spPr bwMode="auto">
            <a:xfrm>
              <a:off x="6003926" y="1914526"/>
              <a:ext cx="479425" cy="608013"/>
            </a:xfrm>
            <a:custGeom>
              <a:avLst/>
              <a:gdLst>
                <a:gd name="T0" fmla="*/ 0 w 252"/>
                <a:gd name="T1" fmla="*/ 7 h 320"/>
                <a:gd name="T2" fmla="*/ 25 w 252"/>
                <a:gd name="T3" fmla="*/ 7 h 320"/>
                <a:gd name="T4" fmla="*/ 25 w 252"/>
                <a:gd name="T5" fmla="*/ 62 h 320"/>
                <a:gd name="T6" fmla="*/ 23 w 252"/>
                <a:gd name="T7" fmla="*/ 88 h 320"/>
                <a:gd name="T8" fmla="*/ 24 w 252"/>
                <a:gd name="T9" fmla="*/ 88 h 320"/>
                <a:gd name="T10" fmla="*/ 152 w 252"/>
                <a:gd name="T11" fmla="*/ 0 h 320"/>
                <a:gd name="T12" fmla="*/ 252 w 252"/>
                <a:gd name="T13" fmla="*/ 122 h 320"/>
                <a:gd name="T14" fmla="*/ 252 w 252"/>
                <a:gd name="T15" fmla="*/ 320 h 320"/>
                <a:gd name="T16" fmla="*/ 227 w 252"/>
                <a:gd name="T17" fmla="*/ 320 h 320"/>
                <a:gd name="T18" fmla="*/ 227 w 252"/>
                <a:gd name="T19" fmla="*/ 131 h 320"/>
                <a:gd name="T20" fmla="*/ 152 w 252"/>
                <a:gd name="T21" fmla="*/ 26 h 320"/>
                <a:gd name="T22" fmla="*/ 30 w 252"/>
                <a:gd name="T23" fmla="*/ 125 h 320"/>
                <a:gd name="T24" fmla="*/ 25 w 252"/>
                <a:gd name="T25" fmla="*/ 168 h 320"/>
                <a:gd name="T26" fmla="*/ 25 w 252"/>
                <a:gd name="T27" fmla="*/ 320 h 320"/>
                <a:gd name="T28" fmla="*/ 0 w 252"/>
                <a:gd name="T29" fmla="*/ 320 h 320"/>
                <a:gd name="T30" fmla="*/ 0 w 252"/>
                <a:gd name="T31" fmla="*/ 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320">
                  <a:moveTo>
                    <a:pt x="0" y="7"/>
                  </a:moveTo>
                  <a:cubicBezTo>
                    <a:pt x="25" y="7"/>
                    <a:pt x="25" y="7"/>
                    <a:pt x="25" y="7"/>
                  </a:cubicBezTo>
                  <a:cubicBezTo>
                    <a:pt x="25" y="62"/>
                    <a:pt x="25" y="62"/>
                    <a:pt x="25" y="62"/>
                  </a:cubicBezTo>
                  <a:cubicBezTo>
                    <a:pt x="25" y="77"/>
                    <a:pt x="23" y="88"/>
                    <a:pt x="23" y="88"/>
                  </a:cubicBezTo>
                  <a:cubicBezTo>
                    <a:pt x="24" y="88"/>
                    <a:pt x="24" y="88"/>
                    <a:pt x="24" y="88"/>
                  </a:cubicBezTo>
                  <a:cubicBezTo>
                    <a:pt x="34" y="59"/>
                    <a:pt x="77" y="0"/>
                    <a:pt x="152" y="0"/>
                  </a:cubicBezTo>
                  <a:cubicBezTo>
                    <a:pt x="231" y="0"/>
                    <a:pt x="252" y="48"/>
                    <a:pt x="252" y="122"/>
                  </a:cubicBezTo>
                  <a:cubicBezTo>
                    <a:pt x="252" y="320"/>
                    <a:pt x="252" y="320"/>
                    <a:pt x="252" y="320"/>
                  </a:cubicBezTo>
                  <a:cubicBezTo>
                    <a:pt x="227" y="320"/>
                    <a:pt x="227" y="320"/>
                    <a:pt x="227" y="320"/>
                  </a:cubicBezTo>
                  <a:cubicBezTo>
                    <a:pt x="227" y="131"/>
                    <a:pt x="227" y="131"/>
                    <a:pt x="227" y="131"/>
                  </a:cubicBezTo>
                  <a:cubicBezTo>
                    <a:pt x="227" y="77"/>
                    <a:pt x="220" y="26"/>
                    <a:pt x="152" y="26"/>
                  </a:cubicBezTo>
                  <a:cubicBezTo>
                    <a:pt x="95" y="26"/>
                    <a:pt x="45" y="67"/>
                    <a:pt x="30" y="125"/>
                  </a:cubicBezTo>
                  <a:cubicBezTo>
                    <a:pt x="26" y="138"/>
                    <a:pt x="25" y="153"/>
                    <a:pt x="25" y="168"/>
                  </a:cubicBezTo>
                  <a:cubicBezTo>
                    <a:pt x="25" y="320"/>
                    <a:pt x="25" y="320"/>
                    <a:pt x="25" y="320"/>
                  </a:cubicBezTo>
                  <a:cubicBezTo>
                    <a:pt x="0" y="320"/>
                    <a:pt x="0" y="320"/>
                    <a:pt x="0" y="320"/>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9" name="Freeform 48">
              <a:extLst>
                <a:ext uri="{FF2B5EF4-FFF2-40B4-BE49-F238E27FC236}">
                  <a16:creationId xmlns:a16="http://schemas.microsoft.com/office/drawing/2014/main" id="{04DD23BB-B2D3-A944-81B8-A2956E263636}"/>
                </a:ext>
              </a:extLst>
            </p:cNvPr>
            <p:cNvSpPr>
              <a:spLocks noEditPoints="1"/>
            </p:cNvSpPr>
            <p:nvPr/>
          </p:nvSpPr>
          <p:spPr bwMode="auto">
            <a:xfrm>
              <a:off x="6950076" y="1689101"/>
              <a:ext cx="501650" cy="849313"/>
            </a:xfrm>
            <a:custGeom>
              <a:avLst/>
              <a:gdLst>
                <a:gd name="T0" fmla="*/ 130 w 264"/>
                <a:gd name="T1" fmla="*/ 420 h 446"/>
                <a:gd name="T2" fmla="*/ 237 w 264"/>
                <a:gd name="T3" fmla="*/ 282 h 446"/>
                <a:gd name="T4" fmla="*/ 132 w 264"/>
                <a:gd name="T5" fmla="*/ 144 h 446"/>
                <a:gd name="T6" fmla="*/ 24 w 264"/>
                <a:gd name="T7" fmla="*/ 282 h 446"/>
                <a:gd name="T8" fmla="*/ 130 w 264"/>
                <a:gd name="T9" fmla="*/ 420 h 446"/>
                <a:gd name="T10" fmla="*/ 0 w 264"/>
                <a:gd name="T11" fmla="*/ 0 h 446"/>
                <a:gd name="T12" fmla="*/ 25 w 264"/>
                <a:gd name="T13" fmla="*/ 0 h 446"/>
                <a:gd name="T14" fmla="*/ 25 w 264"/>
                <a:gd name="T15" fmla="*/ 163 h 446"/>
                <a:gd name="T16" fmla="*/ 23 w 264"/>
                <a:gd name="T17" fmla="*/ 189 h 446"/>
                <a:gd name="T18" fmla="*/ 24 w 264"/>
                <a:gd name="T19" fmla="*/ 189 h 446"/>
                <a:gd name="T20" fmla="*/ 133 w 264"/>
                <a:gd name="T21" fmla="*/ 118 h 446"/>
                <a:gd name="T22" fmla="*/ 264 w 264"/>
                <a:gd name="T23" fmla="*/ 282 h 446"/>
                <a:gd name="T24" fmla="*/ 129 w 264"/>
                <a:gd name="T25" fmla="*/ 446 h 446"/>
                <a:gd name="T26" fmla="*/ 24 w 264"/>
                <a:gd name="T27" fmla="*/ 375 h 446"/>
                <a:gd name="T28" fmla="*/ 23 w 264"/>
                <a:gd name="T29" fmla="*/ 375 h 446"/>
                <a:gd name="T30" fmla="*/ 25 w 264"/>
                <a:gd name="T31" fmla="*/ 402 h 446"/>
                <a:gd name="T32" fmla="*/ 25 w 264"/>
                <a:gd name="T33" fmla="*/ 438 h 446"/>
                <a:gd name="T34" fmla="*/ 0 w 264"/>
                <a:gd name="T35" fmla="*/ 438 h 446"/>
                <a:gd name="T36" fmla="*/ 0 w 264"/>
                <a:gd name="T3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420"/>
                  </a:moveTo>
                  <a:cubicBezTo>
                    <a:pt x="189" y="420"/>
                    <a:pt x="237" y="369"/>
                    <a:pt x="237" y="282"/>
                  </a:cubicBezTo>
                  <a:cubicBezTo>
                    <a:pt x="237" y="197"/>
                    <a:pt x="194" y="144"/>
                    <a:pt x="132" y="144"/>
                  </a:cubicBezTo>
                  <a:cubicBezTo>
                    <a:pt x="77" y="144"/>
                    <a:pt x="24" y="184"/>
                    <a:pt x="24" y="282"/>
                  </a:cubicBezTo>
                  <a:cubicBezTo>
                    <a:pt x="24" y="352"/>
                    <a:pt x="59" y="420"/>
                    <a:pt x="130" y="420"/>
                  </a:cubicBezTo>
                  <a:moveTo>
                    <a:pt x="0" y="0"/>
                  </a:moveTo>
                  <a:cubicBezTo>
                    <a:pt x="25" y="0"/>
                    <a:pt x="25" y="0"/>
                    <a:pt x="25" y="0"/>
                  </a:cubicBezTo>
                  <a:cubicBezTo>
                    <a:pt x="25" y="163"/>
                    <a:pt x="25" y="163"/>
                    <a:pt x="25" y="163"/>
                  </a:cubicBezTo>
                  <a:cubicBezTo>
                    <a:pt x="25" y="177"/>
                    <a:pt x="23" y="189"/>
                    <a:pt x="23" y="189"/>
                  </a:cubicBezTo>
                  <a:cubicBezTo>
                    <a:pt x="24" y="189"/>
                    <a:pt x="24" y="189"/>
                    <a:pt x="24" y="189"/>
                  </a:cubicBezTo>
                  <a:cubicBezTo>
                    <a:pt x="24" y="189"/>
                    <a:pt x="50" y="118"/>
                    <a:pt x="133" y="118"/>
                  </a:cubicBezTo>
                  <a:cubicBezTo>
                    <a:pt x="215" y="118"/>
                    <a:pt x="264" y="185"/>
                    <a:pt x="264" y="282"/>
                  </a:cubicBezTo>
                  <a:cubicBezTo>
                    <a:pt x="264" y="381"/>
                    <a:pt x="208" y="446"/>
                    <a:pt x="129" y="446"/>
                  </a:cubicBezTo>
                  <a:cubicBezTo>
                    <a:pt x="52" y="446"/>
                    <a:pt x="24" y="375"/>
                    <a:pt x="24" y="375"/>
                  </a:cubicBezTo>
                  <a:cubicBezTo>
                    <a:pt x="23" y="375"/>
                    <a:pt x="23" y="375"/>
                    <a:pt x="23" y="375"/>
                  </a:cubicBezTo>
                  <a:cubicBezTo>
                    <a:pt x="23" y="375"/>
                    <a:pt x="25" y="386"/>
                    <a:pt x="25" y="402"/>
                  </a:cubicBezTo>
                  <a:cubicBezTo>
                    <a:pt x="25" y="438"/>
                    <a:pt x="25" y="438"/>
                    <a:pt x="25"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0" name="Freeform 49">
              <a:extLst>
                <a:ext uri="{FF2B5EF4-FFF2-40B4-BE49-F238E27FC236}">
                  <a16:creationId xmlns:a16="http://schemas.microsoft.com/office/drawing/2014/main" id="{87BB2AA8-3A1B-3644-8599-4B7092E5E8AC}"/>
                </a:ext>
              </a:extLst>
            </p:cNvPr>
            <p:cNvSpPr>
              <a:spLocks/>
            </p:cNvSpPr>
            <p:nvPr/>
          </p:nvSpPr>
          <p:spPr bwMode="auto">
            <a:xfrm>
              <a:off x="7459663" y="1927226"/>
              <a:ext cx="533400" cy="844550"/>
            </a:xfrm>
            <a:custGeom>
              <a:avLst/>
              <a:gdLst>
                <a:gd name="T0" fmla="*/ 11 w 281"/>
                <a:gd name="T1" fmla="*/ 404 h 444"/>
                <a:gd name="T2" fmla="*/ 49 w 281"/>
                <a:gd name="T3" fmla="*/ 419 h 444"/>
                <a:gd name="T4" fmla="*/ 108 w 281"/>
                <a:gd name="T5" fmla="*/ 363 h 444"/>
                <a:gd name="T6" fmla="*/ 130 w 281"/>
                <a:gd name="T7" fmla="*/ 311 h 444"/>
                <a:gd name="T8" fmla="*/ 5 w 281"/>
                <a:gd name="T9" fmla="*/ 0 h 444"/>
                <a:gd name="T10" fmla="*/ 32 w 281"/>
                <a:gd name="T11" fmla="*/ 0 h 444"/>
                <a:gd name="T12" fmla="*/ 132 w 281"/>
                <a:gd name="T13" fmla="*/ 250 h 444"/>
                <a:gd name="T14" fmla="*/ 143 w 281"/>
                <a:gd name="T15" fmla="*/ 279 h 444"/>
                <a:gd name="T16" fmla="*/ 144 w 281"/>
                <a:gd name="T17" fmla="*/ 279 h 444"/>
                <a:gd name="T18" fmla="*/ 154 w 281"/>
                <a:gd name="T19" fmla="*/ 250 h 444"/>
                <a:gd name="T20" fmla="*/ 254 w 281"/>
                <a:gd name="T21" fmla="*/ 0 h 444"/>
                <a:gd name="T22" fmla="*/ 281 w 281"/>
                <a:gd name="T23" fmla="*/ 0 h 444"/>
                <a:gd name="T24" fmla="*/ 126 w 281"/>
                <a:gd name="T25" fmla="*/ 386 h 444"/>
                <a:gd name="T26" fmla="*/ 49 w 281"/>
                <a:gd name="T27" fmla="*/ 444 h 444"/>
                <a:gd name="T28" fmla="*/ 0 w 281"/>
                <a:gd name="T29" fmla="*/ 427 h 444"/>
                <a:gd name="T30" fmla="*/ 11 w 281"/>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444">
                  <a:moveTo>
                    <a:pt x="11" y="404"/>
                  </a:moveTo>
                  <a:cubicBezTo>
                    <a:pt x="11" y="404"/>
                    <a:pt x="28" y="419"/>
                    <a:pt x="49" y="419"/>
                  </a:cubicBezTo>
                  <a:cubicBezTo>
                    <a:pt x="78" y="419"/>
                    <a:pt x="96" y="392"/>
                    <a:pt x="108" y="363"/>
                  </a:cubicBezTo>
                  <a:cubicBezTo>
                    <a:pt x="130" y="311"/>
                    <a:pt x="130" y="311"/>
                    <a:pt x="130" y="311"/>
                  </a:cubicBezTo>
                  <a:cubicBezTo>
                    <a:pt x="5" y="0"/>
                    <a:pt x="5" y="0"/>
                    <a:pt x="5" y="0"/>
                  </a:cubicBezTo>
                  <a:cubicBezTo>
                    <a:pt x="32" y="0"/>
                    <a:pt x="32" y="0"/>
                    <a:pt x="32" y="0"/>
                  </a:cubicBezTo>
                  <a:cubicBezTo>
                    <a:pt x="132" y="250"/>
                    <a:pt x="132" y="250"/>
                    <a:pt x="132" y="250"/>
                  </a:cubicBezTo>
                  <a:cubicBezTo>
                    <a:pt x="138" y="265"/>
                    <a:pt x="143" y="279"/>
                    <a:pt x="143" y="279"/>
                  </a:cubicBezTo>
                  <a:cubicBezTo>
                    <a:pt x="144" y="279"/>
                    <a:pt x="144" y="279"/>
                    <a:pt x="144" y="279"/>
                  </a:cubicBezTo>
                  <a:cubicBezTo>
                    <a:pt x="144" y="279"/>
                    <a:pt x="148" y="265"/>
                    <a:pt x="154" y="250"/>
                  </a:cubicBezTo>
                  <a:cubicBezTo>
                    <a:pt x="254" y="0"/>
                    <a:pt x="254" y="0"/>
                    <a:pt x="254" y="0"/>
                  </a:cubicBezTo>
                  <a:cubicBezTo>
                    <a:pt x="281" y="0"/>
                    <a:pt x="281" y="0"/>
                    <a:pt x="281" y="0"/>
                  </a:cubicBezTo>
                  <a:cubicBezTo>
                    <a:pt x="126" y="386"/>
                    <a:pt x="126" y="386"/>
                    <a:pt x="126" y="386"/>
                  </a:cubicBezTo>
                  <a:cubicBezTo>
                    <a:pt x="112" y="419"/>
                    <a:pt x="87" y="444"/>
                    <a:pt x="49" y="444"/>
                  </a:cubicBezTo>
                  <a:cubicBezTo>
                    <a:pt x="20" y="444"/>
                    <a:pt x="0" y="427"/>
                    <a:pt x="0" y="427"/>
                  </a:cubicBezTo>
                  <a:lnTo>
                    <a:pt x="11"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1" name="Freeform 50">
              <a:extLst>
                <a:ext uri="{FF2B5EF4-FFF2-40B4-BE49-F238E27FC236}">
                  <a16:creationId xmlns:a16="http://schemas.microsoft.com/office/drawing/2014/main" id="{8948E296-0FF2-F642-B3D1-B4ADCA612AC7}"/>
                </a:ext>
              </a:extLst>
            </p:cNvPr>
            <p:cNvSpPr>
              <a:spLocks/>
            </p:cNvSpPr>
            <p:nvPr/>
          </p:nvSpPr>
          <p:spPr bwMode="auto">
            <a:xfrm>
              <a:off x="8301038" y="1906588"/>
              <a:ext cx="431800" cy="631825"/>
            </a:xfrm>
            <a:custGeom>
              <a:avLst/>
              <a:gdLst>
                <a:gd name="T0" fmla="*/ 29 w 227"/>
                <a:gd name="T1" fmla="*/ 242 h 332"/>
                <a:gd name="T2" fmla="*/ 117 w 227"/>
                <a:gd name="T3" fmla="*/ 279 h 332"/>
                <a:gd name="T4" fmla="*/ 167 w 227"/>
                <a:gd name="T5" fmla="*/ 240 h 332"/>
                <a:gd name="T6" fmla="*/ 10 w 227"/>
                <a:gd name="T7" fmla="*/ 90 h 332"/>
                <a:gd name="T8" fmla="*/ 121 w 227"/>
                <a:gd name="T9" fmla="*/ 0 h 332"/>
                <a:gd name="T10" fmla="*/ 220 w 227"/>
                <a:gd name="T11" fmla="*/ 35 h 332"/>
                <a:gd name="T12" fmla="*/ 196 w 227"/>
                <a:gd name="T13" fmla="*/ 81 h 332"/>
                <a:gd name="T14" fmla="*/ 120 w 227"/>
                <a:gd name="T15" fmla="*/ 53 h 332"/>
                <a:gd name="T16" fmla="*/ 70 w 227"/>
                <a:gd name="T17" fmla="*/ 91 h 332"/>
                <a:gd name="T18" fmla="*/ 227 w 227"/>
                <a:gd name="T19" fmla="*/ 240 h 332"/>
                <a:gd name="T20" fmla="*/ 117 w 227"/>
                <a:gd name="T21" fmla="*/ 332 h 332"/>
                <a:gd name="T22" fmla="*/ 0 w 227"/>
                <a:gd name="T23" fmla="*/ 285 h 332"/>
                <a:gd name="T24" fmla="*/ 29 w 227"/>
                <a:gd name="T25" fmla="*/ 24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2">
                  <a:moveTo>
                    <a:pt x="29" y="242"/>
                  </a:moveTo>
                  <a:cubicBezTo>
                    <a:pt x="29" y="242"/>
                    <a:pt x="63" y="279"/>
                    <a:pt x="117" y="279"/>
                  </a:cubicBezTo>
                  <a:cubicBezTo>
                    <a:pt x="142" y="279"/>
                    <a:pt x="167" y="265"/>
                    <a:pt x="167" y="240"/>
                  </a:cubicBezTo>
                  <a:cubicBezTo>
                    <a:pt x="167" y="181"/>
                    <a:pt x="10" y="193"/>
                    <a:pt x="10" y="90"/>
                  </a:cubicBezTo>
                  <a:cubicBezTo>
                    <a:pt x="10" y="33"/>
                    <a:pt x="60" y="0"/>
                    <a:pt x="121" y="0"/>
                  </a:cubicBezTo>
                  <a:cubicBezTo>
                    <a:pt x="188" y="0"/>
                    <a:pt x="220" y="35"/>
                    <a:pt x="220" y="35"/>
                  </a:cubicBezTo>
                  <a:cubicBezTo>
                    <a:pt x="196" y="81"/>
                    <a:pt x="196" y="81"/>
                    <a:pt x="196" y="81"/>
                  </a:cubicBezTo>
                  <a:cubicBezTo>
                    <a:pt x="196" y="81"/>
                    <a:pt x="169" y="53"/>
                    <a:pt x="120" y="53"/>
                  </a:cubicBezTo>
                  <a:cubicBezTo>
                    <a:pt x="95" y="53"/>
                    <a:pt x="70" y="64"/>
                    <a:pt x="70" y="91"/>
                  </a:cubicBezTo>
                  <a:cubicBezTo>
                    <a:pt x="70" y="148"/>
                    <a:pt x="227" y="136"/>
                    <a:pt x="227" y="240"/>
                  </a:cubicBezTo>
                  <a:cubicBezTo>
                    <a:pt x="227" y="292"/>
                    <a:pt x="184" y="332"/>
                    <a:pt x="117" y="332"/>
                  </a:cubicBezTo>
                  <a:cubicBezTo>
                    <a:pt x="42" y="332"/>
                    <a:pt x="0" y="285"/>
                    <a:pt x="0" y="285"/>
                  </a:cubicBezTo>
                  <a:lnTo>
                    <a:pt x="29"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2" name="Freeform 51">
              <a:extLst>
                <a:ext uri="{FF2B5EF4-FFF2-40B4-BE49-F238E27FC236}">
                  <a16:creationId xmlns:a16="http://schemas.microsoft.com/office/drawing/2014/main" id="{7857EA7D-91C5-B24F-8F50-251B29756864}"/>
                </a:ext>
              </a:extLst>
            </p:cNvPr>
            <p:cNvSpPr>
              <a:spLocks/>
            </p:cNvSpPr>
            <p:nvPr/>
          </p:nvSpPr>
          <p:spPr bwMode="auto">
            <a:xfrm>
              <a:off x="8774113"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3" name="Freeform 52">
              <a:extLst>
                <a:ext uri="{FF2B5EF4-FFF2-40B4-BE49-F238E27FC236}">
                  <a16:creationId xmlns:a16="http://schemas.microsoft.com/office/drawing/2014/main" id="{EA56B0C7-278A-A549-84B8-864480E99402}"/>
                </a:ext>
              </a:extLst>
            </p:cNvPr>
            <p:cNvSpPr>
              <a:spLocks noEditPoints="1"/>
            </p:cNvSpPr>
            <p:nvPr/>
          </p:nvSpPr>
          <p:spPr bwMode="auto">
            <a:xfrm>
              <a:off x="9388476" y="1682751"/>
              <a:ext cx="114300" cy="839788"/>
            </a:xfrm>
            <a:custGeom>
              <a:avLst/>
              <a:gdLst>
                <a:gd name="T0" fmla="*/ 1 w 72"/>
                <a:gd name="T1" fmla="*/ 150 h 529"/>
                <a:gd name="T2" fmla="*/ 72 w 72"/>
                <a:gd name="T3" fmla="*/ 150 h 529"/>
                <a:gd name="T4" fmla="*/ 72 w 72"/>
                <a:gd name="T5" fmla="*/ 529 h 529"/>
                <a:gd name="T6" fmla="*/ 1 w 72"/>
                <a:gd name="T7" fmla="*/ 529 h 529"/>
                <a:gd name="T8" fmla="*/ 1 w 72"/>
                <a:gd name="T9" fmla="*/ 150 h 529"/>
                <a:gd name="T10" fmla="*/ 0 w 72"/>
                <a:gd name="T11" fmla="*/ 0 h 529"/>
                <a:gd name="T12" fmla="*/ 72 w 72"/>
                <a:gd name="T13" fmla="*/ 0 h 529"/>
                <a:gd name="T14" fmla="*/ 72 w 72"/>
                <a:gd name="T15" fmla="*/ 74 h 529"/>
                <a:gd name="T16" fmla="*/ 0 w 72"/>
                <a:gd name="T17" fmla="*/ 74 h 529"/>
                <a:gd name="T18" fmla="*/ 0 w 72"/>
                <a:gd name="T19"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529">
                  <a:moveTo>
                    <a:pt x="1" y="150"/>
                  </a:moveTo>
                  <a:lnTo>
                    <a:pt x="72" y="150"/>
                  </a:lnTo>
                  <a:lnTo>
                    <a:pt x="72" y="529"/>
                  </a:lnTo>
                  <a:lnTo>
                    <a:pt x="1" y="529"/>
                  </a:lnTo>
                  <a:lnTo>
                    <a:pt x="1" y="150"/>
                  </a:lnTo>
                  <a:close/>
                  <a:moveTo>
                    <a:pt x="0" y="0"/>
                  </a:moveTo>
                  <a:lnTo>
                    <a:pt x="72" y="0"/>
                  </a:lnTo>
                  <a:lnTo>
                    <a:pt x="72" y="74"/>
                  </a:lnTo>
                  <a:lnTo>
                    <a:pt x="0" y="7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4" name="Freeform 53">
              <a:extLst>
                <a:ext uri="{FF2B5EF4-FFF2-40B4-BE49-F238E27FC236}">
                  <a16:creationId xmlns:a16="http://schemas.microsoft.com/office/drawing/2014/main" id="{22F1BCF1-82B8-AA4A-8EEA-4982D0AB57FB}"/>
                </a:ext>
              </a:extLst>
            </p:cNvPr>
            <p:cNvSpPr>
              <a:spLocks noEditPoints="1"/>
            </p:cNvSpPr>
            <p:nvPr/>
          </p:nvSpPr>
          <p:spPr bwMode="auto">
            <a:xfrm>
              <a:off x="9593263" y="1906588"/>
              <a:ext cx="541338" cy="631825"/>
            </a:xfrm>
            <a:custGeom>
              <a:avLst/>
              <a:gdLst>
                <a:gd name="T0" fmla="*/ 225 w 285"/>
                <a:gd name="T1" fmla="*/ 129 h 332"/>
                <a:gd name="T2" fmla="*/ 151 w 285"/>
                <a:gd name="T3" fmla="*/ 48 h 332"/>
                <a:gd name="T4" fmla="*/ 62 w 285"/>
                <a:gd name="T5" fmla="*/ 129 h 332"/>
                <a:gd name="T6" fmla="*/ 225 w 285"/>
                <a:gd name="T7" fmla="*/ 129 h 332"/>
                <a:gd name="T8" fmla="*/ 153 w 285"/>
                <a:gd name="T9" fmla="*/ 0 h 332"/>
                <a:gd name="T10" fmla="*/ 285 w 285"/>
                <a:gd name="T11" fmla="*/ 148 h 332"/>
                <a:gd name="T12" fmla="*/ 283 w 285"/>
                <a:gd name="T13" fmla="*/ 175 h 332"/>
                <a:gd name="T14" fmla="*/ 60 w 285"/>
                <a:gd name="T15" fmla="*/ 175 h 332"/>
                <a:gd name="T16" fmla="*/ 165 w 285"/>
                <a:gd name="T17" fmla="*/ 279 h 332"/>
                <a:gd name="T18" fmla="*/ 256 w 285"/>
                <a:gd name="T19" fmla="*/ 242 h 332"/>
                <a:gd name="T20" fmla="*/ 280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3" y="75"/>
                    <a:pt x="191" y="48"/>
                    <a:pt x="151" y="48"/>
                  </a:cubicBezTo>
                  <a:cubicBezTo>
                    <a:pt x="107" y="48"/>
                    <a:pt x="70" y="77"/>
                    <a:pt x="62" y="129"/>
                  </a:cubicBezTo>
                  <a:lnTo>
                    <a:pt x="225" y="129"/>
                  </a:lnTo>
                  <a:close/>
                  <a:moveTo>
                    <a:pt x="153" y="0"/>
                  </a:moveTo>
                  <a:cubicBezTo>
                    <a:pt x="239" y="0"/>
                    <a:pt x="285" y="66"/>
                    <a:pt x="285" y="148"/>
                  </a:cubicBezTo>
                  <a:cubicBezTo>
                    <a:pt x="285" y="156"/>
                    <a:pt x="283" y="175"/>
                    <a:pt x="283" y="175"/>
                  </a:cubicBezTo>
                  <a:cubicBezTo>
                    <a:pt x="60" y="175"/>
                    <a:pt x="60" y="175"/>
                    <a:pt x="60" y="175"/>
                  </a:cubicBezTo>
                  <a:cubicBezTo>
                    <a:pt x="63" y="244"/>
                    <a:pt x="111" y="279"/>
                    <a:pt x="165" y="279"/>
                  </a:cubicBezTo>
                  <a:cubicBezTo>
                    <a:pt x="218" y="279"/>
                    <a:pt x="256" y="242"/>
                    <a:pt x="256" y="242"/>
                  </a:cubicBezTo>
                  <a:cubicBezTo>
                    <a:pt x="280" y="287"/>
                    <a:pt x="280" y="287"/>
                    <a:pt x="280" y="287"/>
                  </a:cubicBezTo>
                  <a:cubicBezTo>
                    <a:pt x="280" y="287"/>
                    <a:pt x="235" y="332"/>
                    <a:pt x="162" y="332"/>
                  </a:cubicBezTo>
                  <a:cubicBezTo>
                    <a:pt x="65" y="332"/>
                    <a:pt x="0" y="260"/>
                    <a:pt x="0" y="166"/>
                  </a:cubicBezTo>
                  <a:cubicBezTo>
                    <a:pt x="0" y="65"/>
                    <a:pt x="65"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5" name="Freeform 54">
              <a:extLst>
                <a:ext uri="{FF2B5EF4-FFF2-40B4-BE49-F238E27FC236}">
                  <a16:creationId xmlns:a16="http://schemas.microsoft.com/office/drawing/2014/main" id="{50173989-5FDB-634F-A96D-F08DD912D71B}"/>
                </a:ext>
              </a:extLst>
            </p:cNvPr>
            <p:cNvSpPr>
              <a:spLocks/>
            </p:cNvSpPr>
            <p:nvPr/>
          </p:nvSpPr>
          <p:spPr bwMode="auto">
            <a:xfrm>
              <a:off x="10229851" y="1906588"/>
              <a:ext cx="525463" cy="615950"/>
            </a:xfrm>
            <a:custGeom>
              <a:avLst/>
              <a:gdLst>
                <a:gd name="T0" fmla="*/ 0 w 277"/>
                <a:gd name="T1" fmla="*/ 8 h 324"/>
                <a:gd name="T2" fmla="*/ 57 w 277"/>
                <a:gd name="T3" fmla="*/ 8 h 324"/>
                <a:gd name="T4" fmla="*/ 57 w 277"/>
                <a:gd name="T5" fmla="*/ 50 h 324"/>
                <a:gd name="T6" fmla="*/ 56 w 277"/>
                <a:gd name="T7" fmla="*/ 73 h 324"/>
                <a:gd name="T8" fmla="*/ 57 w 277"/>
                <a:gd name="T9" fmla="*/ 73 h 324"/>
                <a:gd name="T10" fmla="*/ 172 w 277"/>
                <a:gd name="T11" fmla="*/ 0 h 324"/>
                <a:gd name="T12" fmla="*/ 277 w 277"/>
                <a:gd name="T13" fmla="*/ 122 h 324"/>
                <a:gd name="T14" fmla="*/ 277 w 277"/>
                <a:gd name="T15" fmla="*/ 324 h 324"/>
                <a:gd name="T16" fmla="*/ 218 w 277"/>
                <a:gd name="T17" fmla="*/ 324 h 324"/>
                <a:gd name="T18" fmla="*/ 218 w 277"/>
                <a:gd name="T19" fmla="*/ 135 h 324"/>
                <a:gd name="T20" fmla="*/ 160 w 277"/>
                <a:gd name="T21" fmla="*/ 56 h 324"/>
                <a:gd name="T22" fmla="*/ 63 w 277"/>
                <a:gd name="T23" fmla="*/ 133 h 324"/>
                <a:gd name="T24" fmla="*/ 59 w 277"/>
                <a:gd name="T25" fmla="*/ 176 h 324"/>
                <a:gd name="T26" fmla="*/ 59 w 277"/>
                <a:gd name="T27" fmla="*/ 324 h 324"/>
                <a:gd name="T28" fmla="*/ 0 w 277"/>
                <a:gd name="T29" fmla="*/ 324 h 324"/>
                <a:gd name="T30" fmla="*/ 0 w 277"/>
                <a:gd name="T31" fmla="*/ 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8"/>
                  </a:moveTo>
                  <a:cubicBezTo>
                    <a:pt x="57" y="8"/>
                    <a:pt x="57" y="8"/>
                    <a:pt x="57" y="8"/>
                  </a:cubicBezTo>
                  <a:cubicBezTo>
                    <a:pt x="57" y="50"/>
                    <a:pt x="57" y="50"/>
                    <a:pt x="57" y="50"/>
                  </a:cubicBezTo>
                  <a:cubicBezTo>
                    <a:pt x="57" y="62"/>
                    <a:pt x="56" y="73"/>
                    <a:pt x="56" y="73"/>
                  </a:cubicBezTo>
                  <a:cubicBezTo>
                    <a:pt x="57" y="73"/>
                    <a:pt x="57" y="73"/>
                    <a:pt x="57" y="73"/>
                  </a:cubicBezTo>
                  <a:cubicBezTo>
                    <a:pt x="69" y="45"/>
                    <a:pt x="105" y="0"/>
                    <a:pt x="172" y="0"/>
                  </a:cubicBezTo>
                  <a:cubicBezTo>
                    <a:pt x="244" y="0"/>
                    <a:pt x="277" y="41"/>
                    <a:pt x="277" y="122"/>
                  </a:cubicBezTo>
                  <a:cubicBezTo>
                    <a:pt x="277" y="324"/>
                    <a:pt x="277" y="324"/>
                    <a:pt x="277" y="324"/>
                  </a:cubicBezTo>
                  <a:cubicBezTo>
                    <a:pt x="218" y="324"/>
                    <a:pt x="218" y="324"/>
                    <a:pt x="218" y="324"/>
                  </a:cubicBezTo>
                  <a:cubicBezTo>
                    <a:pt x="218" y="135"/>
                    <a:pt x="218" y="135"/>
                    <a:pt x="218" y="135"/>
                  </a:cubicBezTo>
                  <a:cubicBezTo>
                    <a:pt x="218" y="91"/>
                    <a:pt x="209" y="56"/>
                    <a:pt x="160" y="56"/>
                  </a:cubicBezTo>
                  <a:cubicBezTo>
                    <a:pt x="114" y="56"/>
                    <a:pt x="76" y="88"/>
                    <a:pt x="63" y="133"/>
                  </a:cubicBezTo>
                  <a:cubicBezTo>
                    <a:pt x="60" y="146"/>
                    <a:pt x="59" y="160"/>
                    <a:pt x="59" y="176"/>
                  </a:cubicBezTo>
                  <a:cubicBezTo>
                    <a:pt x="59" y="324"/>
                    <a:pt x="59" y="324"/>
                    <a:pt x="59" y="324"/>
                  </a:cubicBezTo>
                  <a:cubicBezTo>
                    <a:pt x="0" y="324"/>
                    <a:pt x="0" y="324"/>
                    <a:pt x="0" y="324"/>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6" name="Freeform 55">
              <a:extLst>
                <a:ext uri="{FF2B5EF4-FFF2-40B4-BE49-F238E27FC236}">
                  <a16:creationId xmlns:a16="http://schemas.microsoft.com/office/drawing/2014/main" id="{4CC31D51-26ED-D741-B326-C6F6C4B537D4}"/>
                </a:ext>
              </a:extLst>
            </p:cNvPr>
            <p:cNvSpPr>
              <a:spLocks/>
            </p:cNvSpPr>
            <p:nvPr/>
          </p:nvSpPr>
          <p:spPr bwMode="auto">
            <a:xfrm>
              <a:off x="10839451"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7" name="Freeform 56">
              <a:extLst>
                <a:ext uri="{FF2B5EF4-FFF2-40B4-BE49-F238E27FC236}">
                  <a16:creationId xmlns:a16="http://schemas.microsoft.com/office/drawing/2014/main" id="{3E0F7171-006D-8341-8A15-A0D155D4DB21}"/>
                </a:ext>
              </a:extLst>
            </p:cNvPr>
            <p:cNvSpPr>
              <a:spLocks noEditPoints="1"/>
            </p:cNvSpPr>
            <p:nvPr/>
          </p:nvSpPr>
          <p:spPr bwMode="auto">
            <a:xfrm>
              <a:off x="11409363" y="1906588"/>
              <a:ext cx="541338" cy="631825"/>
            </a:xfrm>
            <a:custGeom>
              <a:avLst/>
              <a:gdLst>
                <a:gd name="T0" fmla="*/ 225 w 285"/>
                <a:gd name="T1" fmla="*/ 129 h 332"/>
                <a:gd name="T2" fmla="*/ 152 w 285"/>
                <a:gd name="T3" fmla="*/ 48 h 332"/>
                <a:gd name="T4" fmla="*/ 62 w 285"/>
                <a:gd name="T5" fmla="*/ 129 h 332"/>
                <a:gd name="T6" fmla="*/ 225 w 285"/>
                <a:gd name="T7" fmla="*/ 129 h 332"/>
                <a:gd name="T8" fmla="*/ 153 w 285"/>
                <a:gd name="T9" fmla="*/ 0 h 332"/>
                <a:gd name="T10" fmla="*/ 285 w 285"/>
                <a:gd name="T11" fmla="*/ 148 h 332"/>
                <a:gd name="T12" fmla="*/ 284 w 285"/>
                <a:gd name="T13" fmla="*/ 175 h 332"/>
                <a:gd name="T14" fmla="*/ 60 w 285"/>
                <a:gd name="T15" fmla="*/ 175 h 332"/>
                <a:gd name="T16" fmla="*/ 166 w 285"/>
                <a:gd name="T17" fmla="*/ 279 h 332"/>
                <a:gd name="T18" fmla="*/ 256 w 285"/>
                <a:gd name="T19" fmla="*/ 242 h 332"/>
                <a:gd name="T20" fmla="*/ 281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4" y="75"/>
                    <a:pt x="191" y="48"/>
                    <a:pt x="152" y="48"/>
                  </a:cubicBezTo>
                  <a:cubicBezTo>
                    <a:pt x="107" y="48"/>
                    <a:pt x="71" y="77"/>
                    <a:pt x="62" y="129"/>
                  </a:cubicBezTo>
                  <a:lnTo>
                    <a:pt x="225" y="129"/>
                  </a:lnTo>
                  <a:close/>
                  <a:moveTo>
                    <a:pt x="153" y="0"/>
                  </a:moveTo>
                  <a:cubicBezTo>
                    <a:pt x="239" y="0"/>
                    <a:pt x="285" y="66"/>
                    <a:pt x="285" y="148"/>
                  </a:cubicBezTo>
                  <a:cubicBezTo>
                    <a:pt x="285" y="156"/>
                    <a:pt x="284" y="175"/>
                    <a:pt x="284" y="175"/>
                  </a:cubicBezTo>
                  <a:cubicBezTo>
                    <a:pt x="60" y="175"/>
                    <a:pt x="60" y="175"/>
                    <a:pt x="60" y="175"/>
                  </a:cubicBezTo>
                  <a:cubicBezTo>
                    <a:pt x="63" y="244"/>
                    <a:pt x="111" y="279"/>
                    <a:pt x="166" y="279"/>
                  </a:cubicBezTo>
                  <a:cubicBezTo>
                    <a:pt x="218" y="279"/>
                    <a:pt x="256" y="242"/>
                    <a:pt x="256" y="242"/>
                  </a:cubicBezTo>
                  <a:cubicBezTo>
                    <a:pt x="281" y="287"/>
                    <a:pt x="281" y="287"/>
                    <a:pt x="281" y="287"/>
                  </a:cubicBezTo>
                  <a:cubicBezTo>
                    <a:pt x="281" y="287"/>
                    <a:pt x="235" y="332"/>
                    <a:pt x="162" y="332"/>
                  </a:cubicBezTo>
                  <a:cubicBezTo>
                    <a:pt x="66" y="332"/>
                    <a:pt x="0" y="260"/>
                    <a:pt x="0" y="166"/>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8" name="Rectangle 57">
              <a:extLst>
                <a:ext uri="{FF2B5EF4-FFF2-40B4-BE49-F238E27FC236}">
                  <a16:creationId xmlns:a16="http://schemas.microsoft.com/office/drawing/2014/main" id="{A0F74615-2584-7846-9F1F-D25B1552C30E}"/>
                </a:ext>
              </a:extLst>
            </p:cNvPr>
            <p:cNvSpPr>
              <a:spLocks noChangeArrowheads="1"/>
            </p:cNvSpPr>
            <p:nvPr/>
          </p:nvSpPr>
          <p:spPr bwMode="auto">
            <a:xfrm>
              <a:off x="12044363" y="2401888"/>
              <a:ext cx="117475" cy="120650"/>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grpSp>
      <p:grpSp>
        <p:nvGrpSpPr>
          <p:cNvPr id="59" name="Group 58">
            <a:extLst>
              <a:ext uri="{FF2B5EF4-FFF2-40B4-BE49-F238E27FC236}">
                <a16:creationId xmlns:a16="http://schemas.microsoft.com/office/drawing/2014/main" id="{5CAA4F8F-E996-B147-87AD-875344BC224A}"/>
              </a:ext>
            </a:extLst>
          </p:cNvPr>
          <p:cNvGrpSpPr/>
          <p:nvPr/>
        </p:nvGrpSpPr>
        <p:grpSpPr>
          <a:xfrm>
            <a:off x="11862848" y="1678073"/>
            <a:ext cx="230832" cy="3501854"/>
            <a:chOff x="0" y="1980381"/>
            <a:chExt cx="230832" cy="3501854"/>
          </a:xfrm>
        </p:grpSpPr>
        <p:sp>
          <p:nvSpPr>
            <p:cNvPr id="60" name="TextBox 59">
              <a:extLst>
                <a:ext uri="{FF2B5EF4-FFF2-40B4-BE49-F238E27FC236}">
                  <a16:creationId xmlns:a16="http://schemas.microsoft.com/office/drawing/2014/main" id="{64BD0580-69B4-F34E-8311-1911C864A523}"/>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61" name="Straight Connector 60">
              <a:extLst>
                <a:ext uri="{FF2B5EF4-FFF2-40B4-BE49-F238E27FC236}">
                  <a16:creationId xmlns:a16="http://schemas.microsoft.com/office/drawing/2014/main" id="{5DC71938-0B18-FF49-AB6E-0A1E9E1936D2}"/>
                </a:ext>
              </a:extLst>
            </p:cNvPr>
            <p:cNvCxnSpPr>
              <a:cxnSpLocks/>
            </p:cNvCxnSpPr>
            <p:nvPr/>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581B04C-6E0C-7646-907B-615E7E17093A}"/>
                </a:ext>
              </a:extLst>
            </p:cNvPr>
            <p:cNvCxnSpPr>
              <a:cxnSpLocks/>
            </p:cNvCxnSpPr>
            <p:nvPr/>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
        <p:nvSpPr>
          <p:cNvPr id="63" name="Freeform 5">
            <a:extLst>
              <a:ext uri="{FF2B5EF4-FFF2-40B4-BE49-F238E27FC236}">
                <a16:creationId xmlns:a16="http://schemas.microsoft.com/office/drawing/2014/main" id="{D35013EA-8F1C-B648-8834-E618C821201D}"/>
              </a:ext>
            </a:extLst>
          </p:cNvPr>
          <p:cNvSpPr>
            <a:spLocks/>
          </p:cNvSpPr>
          <p:nvPr userDrawn="1"/>
        </p:nvSpPr>
        <p:spPr bwMode="auto">
          <a:xfrm flipH="1">
            <a:off x="1393" y="2234871"/>
            <a:ext cx="4578350" cy="4622935"/>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TextBox 63">
            <a:extLst>
              <a:ext uri="{FF2B5EF4-FFF2-40B4-BE49-F238E27FC236}">
                <a16:creationId xmlns:a16="http://schemas.microsoft.com/office/drawing/2014/main" id="{DC9B1E07-5CFC-E84C-BF61-CAD19D8A0185}"/>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a:solidFill>
                <a:schemeClr val="tx1"/>
              </a:solidFill>
            </a:endParaRPr>
          </a:p>
        </p:txBody>
      </p:sp>
      <p:grpSp>
        <p:nvGrpSpPr>
          <p:cNvPr id="108" name="Group 107">
            <a:extLst>
              <a:ext uri="{FF2B5EF4-FFF2-40B4-BE49-F238E27FC236}">
                <a16:creationId xmlns:a16="http://schemas.microsoft.com/office/drawing/2014/main" id="{145A7A15-11D8-D142-A180-53697E13CFA8}"/>
              </a:ext>
            </a:extLst>
          </p:cNvPr>
          <p:cNvGrpSpPr/>
          <p:nvPr userDrawn="1"/>
        </p:nvGrpSpPr>
        <p:grpSpPr>
          <a:xfrm>
            <a:off x="11862848" y="1678073"/>
            <a:ext cx="230832" cy="3501854"/>
            <a:chOff x="0" y="1980381"/>
            <a:chExt cx="230832" cy="3501854"/>
          </a:xfrm>
        </p:grpSpPr>
        <p:sp>
          <p:nvSpPr>
            <p:cNvPr id="109" name="TextBox 108">
              <a:extLst>
                <a:ext uri="{FF2B5EF4-FFF2-40B4-BE49-F238E27FC236}">
                  <a16:creationId xmlns:a16="http://schemas.microsoft.com/office/drawing/2014/main" id="{617D4F3D-B2C7-4A45-A62F-012D39F40B45}"/>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110" name="Straight Connector 109">
              <a:extLst>
                <a:ext uri="{FF2B5EF4-FFF2-40B4-BE49-F238E27FC236}">
                  <a16:creationId xmlns:a16="http://schemas.microsoft.com/office/drawing/2014/main" id="{7C83294B-A11A-7D4D-9E0E-B05053C63C00}"/>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B427D0-EA25-0F41-862E-0E2FB898A5EF}"/>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12" name="Graphic 111">
            <a:extLst>
              <a:ext uri="{FF2B5EF4-FFF2-40B4-BE49-F238E27FC236}">
                <a16:creationId xmlns:a16="http://schemas.microsoft.com/office/drawing/2014/main" id="{27785070-3913-2E47-A65B-E287C1C0976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0163" y="6213912"/>
            <a:ext cx="1996068" cy="644088"/>
          </a:xfrm>
          <a:prstGeom prst="rect">
            <a:avLst/>
          </a:prstGeom>
        </p:spPr>
      </p:pic>
    </p:spTree>
    <p:extLst>
      <p:ext uri="{BB962C8B-B14F-4D97-AF65-F5344CB8AC3E}">
        <p14:creationId xmlns:p14="http://schemas.microsoft.com/office/powerpoint/2010/main" val="1781087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w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6650987" y="1666239"/>
            <a:ext cx="5114597" cy="867930"/>
          </a:xfrm>
        </p:spPr>
        <p:txBody>
          <a:bodyPr wrap="square" anchor="b">
            <a:spAutoFit/>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grpSp>
        <p:nvGrpSpPr>
          <p:cNvPr id="8" name="Group 7">
            <a:extLst>
              <a:ext uri="{FF2B5EF4-FFF2-40B4-BE49-F238E27FC236}">
                <a16:creationId xmlns:a16="http://schemas.microsoft.com/office/drawing/2014/main" id="{9EA25FCE-E0FB-6746-8D6E-F7317D200228}"/>
              </a:ext>
            </a:extLst>
          </p:cNvPr>
          <p:cNvGrpSpPr/>
          <p:nvPr/>
        </p:nvGrpSpPr>
        <p:grpSpPr>
          <a:xfrm>
            <a:off x="6057785" y="3509736"/>
            <a:ext cx="593202" cy="975172"/>
            <a:chOff x="6110794" y="3712667"/>
            <a:chExt cx="604094" cy="1022367"/>
          </a:xfrm>
        </p:grpSpPr>
        <p:sp>
          <p:nvSpPr>
            <p:cNvPr id="9" name="Freeform 5">
              <a:extLst>
                <a:ext uri="{FF2B5EF4-FFF2-40B4-BE49-F238E27FC236}">
                  <a16:creationId xmlns:a16="http://schemas.microsoft.com/office/drawing/2014/main" id="{C1D28AFC-691E-A84B-B253-C2E6EBA96530}"/>
                </a:ext>
              </a:extLst>
            </p:cNvPr>
            <p:cNvSpPr>
              <a:spLocks/>
            </p:cNvSpPr>
            <p:nvPr/>
          </p:nvSpPr>
          <p:spPr bwMode="auto">
            <a:xfrm>
              <a:off x="6541123"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a:extLst>
                <a:ext uri="{FF2B5EF4-FFF2-40B4-BE49-F238E27FC236}">
                  <a16:creationId xmlns:a16="http://schemas.microsoft.com/office/drawing/2014/main" id="{1E53D310-7F49-8844-B536-B5E23035A4A3}"/>
                </a:ext>
              </a:extLst>
            </p:cNvPr>
            <p:cNvSpPr>
              <a:spLocks/>
            </p:cNvSpPr>
            <p:nvPr/>
          </p:nvSpPr>
          <p:spPr bwMode="auto">
            <a:xfrm>
              <a:off x="6326542"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7">
              <a:extLst>
                <a:ext uri="{FF2B5EF4-FFF2-40B4-BE49-F238E27FC236}">
                  <a16:creationId xmlns:a16="http://schemas.microsoft.com/office/drawing/2014/main" id="{B948D674-5FC9-6A41-9EBC-CBD09BFC8C44}"/>
                </a:ext>
              </a:extLst>
            </p:cNvPr>
            <p:cNvSpPr>
              <a:spLocks/>
            </p:cNvSpPr>
            <p:nvPr/>
          </p:nvSpPr>
          <p:spPr bwMode="auto">
            <a:xfrm>
              <a:off x="6110794"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a:extLst>
                <a:ext uri="{FF2B5EF4-FFF2-40B4-BE49-F238E27FC236}">
                  <a16:creationId xmlns:a16="http://schemas.microsoft.com/office/drawing/2014/main" id="{1E5203ED-D85F-4F49-9880-D662420577BD}"/>
                </a:ext>
              </a:extLst>
            </p:cNvPr>
            <p:cNvSpPr>
              <a:spLocks/>
            </p:cNvSpPr>
            <p:nvPr/>
          </p:nvSpPr>
          <p:spPr bwMode="auto">
            <a:xfrm>
              <a:off x="6541123"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5"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1">
              <a:extLst>
                <a:ext uri="{FF2B5EF4-FFF2-40B4-BE49-F238E27FC236}">
                  <a16:creationId xmlns:a16="http://schemas.microsoft.com/office/drawing/2014/main" id="{7C4A71DB-93FE-B249-B34A-606A82475D32}"/>
                </a:ext>
              </a:extLst>
            </p:cNvPr>
            <p:cNvSpPr>
              <a:spLocks/>
            </p:cNvSpPr>
            <p:nvPr/>
          </p:nvSpPr>
          <p:spPr bwMode="auto">
            <a:xfrm>
              <a:off x="6326542"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2">
              <a:extLst>
                <a:ext uri="{FF2B5EF4-FFF2-40B4-BE49-F238E27FC236}">
                  <a16:creationId xmlns:a16="http://schemas.microsoft.com/office/drawing/2014/main" id="{2AE16C31-BDC5-E344-9877-FCA28EF4F5E3}"/>
                </a:ext>
              </a:extLst>
            </p:cNvPr>
            <p:cNvSpPr>
              <a:spLocks/>
            </p:cNvSpPr>
            <p:nvPr/>
          </p:nvSpPr>
          <p:spPr bwMode="auto">
            <a:xfrm>
              <a:off x="6110794"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5">
              <a:extLst>
                <a:ext uri="{FF2B5EF4-FFF2-40B4-BE49-F238E27FC236}">
                  <a16:creationId xmlns:a16="http://schemas.microsoft.com/office/drawing/2014/main" id="{66503F38-0FFA-A04B-922D-26BE538F6E02}"/>
                </a:ext>
              </a:extLst>
            </p:cNvPr>
            <p:cNvSpPr>
              <a:spLocks/>
            </p:cNvSpPr>
            <p:nvPr/>
          </p:nvSpPr>
          <p:spPr bwMode="auto">
            <a:xfrm>
              <a:off x="6541123"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5">
              <a:extLst>
                <a:ext uri="{FF2B5EF4-FFF2-40B4-BE49-F238E27FC236}">
                  <a16:creationId xmlns:a16="http://schemas.microsoft.com/office/drawing/2014/main" id="{DEA12EF2-91CC-8D42-9823-B16D528E2A03}"/>
                </a:ext>
              </a:extLst>
            </p:cNvPr>
            <p:cNvSpPr>
              <a:spLocks/>
            </p:cNvSpPr>
            <p:nvPr/>
          </p:nvSpPr>
          <p:spPr bwMode="auto">
            <a:xfrm>
              <a:off x="6326542"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6">
              <a:extLst>
                <a:ext uri="{FF2B5EF4-FFF2-40B4-BE49-F238E27FC236}">
                  <a16:creationId xmlns:a16="http://schemas.microsoft.com/office/drawing/2014/main" id="{F2D2D9EB-7B28-FF47-A08A-0B38EE5FA857}"/>
                </a:ext>
              </a:extLst>
            </p:cNvPr>
            <p:cNvSpPr>
              <a:spLocks/>
            </p:cNvSpPr>
            <p:nvPr/>
          </p:nvSpPr>
          <p:spPr bwMode="auto">
            <a:xfrm>
              <a:off x="6110794"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0">
              <a:extLst>
                <a:ext uri="{FF2B5EF4-FFF2-40B4-BE49-F238E27FC236}">
                  <a16:creationId xmlns:a16="http://schemas.microsoft.com/office/drawing/2014/main" id="{12031F8B-BF64-2B49-9A2C-56AC025F4A21}"/>
                </a:ext>
              </a:extLst>
            </p:cNvPr>
            <p:cNvSpPr>
              <a:spLocks/>
            </p:cNvSpPr>
            <p:nvPr/>
          </p:nvSpPr>
          <p:spPr bwMode="auto">
            <a:xfrm>
              <a:off x="6541123"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1">
              <a:extLst>
                <a:ext uri="{FF2B5EF4-FFF2-40B4-BE49-F238E27FC236}">
                  <a16:creationId xmlns:a16="http://schemas.microsoft.com/office/drawing/2014/main" id="{6B3B3596-2B68-104A-B352-2C13698369CF}"/>
                </a:ext>
              </a:extLst>
            </p:cNvPr>
            <p:cNvSpPr>
              <a:spLocks/>
            </p:cNvSpPr>
            <p:nvPr/>
          </p:nvSpPr>
          <p:spPr bwMode="auto">
            <a:xfrm>
              <a:off x="6326542"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2">
              <a:extLst>
                <a:ext uri="{FF2B5EF4-FFF2-40B4-BE49-F238E27FC236}">
                  <a16:creationId xmlns:a16="http://schemas.microsoft.com/office/drawing/2014/main" id="{869C5B73-3D9B-8347-8913-120A3BA99370}"/>
                </a:ext>
              </a:extLst>
            </p:cNvPr>
            <p:cNvSpPr>
              <a:spLocks/>
            </p:cNvSpPr>
            <p:nvPr/>
          </p:nvSpPr>
          <p:spPr bwMode="auto">
            <a:xfrm>
              <a:off x="6110794"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5">
              <a:extLst>
                <a:ext uri="{FF2B5EF4-FFF2-40B4-BE49-F238E27FC236}">
                  <a16:creationId xmlns:a16="http://schemas.microsoft.com/office/drawing/2014/main" id="{31B97D44-E645-4647-9566-C5212128CF97}"/>
                </a:ext>
              </a:extLst>
            </p:cNvPr>
            <p:cNvSpPr>
              <a:spLocks/>
            </p:cNvSpPr>
            <p:nvPr/>
          </p:nvSpPr>
          <p:spPr bwMode="auto">
            <a:xfrm>
              <a:off x="6541123"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26">
              <a:extLst>
                <a:ext uri="{FF2B5EF4-FFF2-40B4-BE49-F238E27FC236}">
                  <a16:creationId xmlns:a16="http://schemas.microsoft.com/office/drawing/2014/main" id="{2F2EA29D-1801-4B4D-9110-F5D4C9514F35}"/>
                </a:ext>
              </a:extLst>
            </p:cNvPr>
            <p:cNvSpPr>
              <a:spLocks/>
            </p:cNvSpPr>
            <p:nvPr/>
          </p:nvSpPr>
          <p:spPr bwMode="auto">
            <a:xfrm>
              <a:off x="6326542"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7">
              <a:extLst>
                <a:ext uri="{FF2B5EF4-FFF2-40B4-BE49-F238E27FC236}">
                  <a16:creationId xmlns:a16="http://schemas.microsoft.com/office/drawing/2014/main" id="{4D01950D-2B09-2945-80E1-9A85F78BDE51}"/>
                </a:ext>
              </a:extLst>
            </p:cNvPr>
            <p:cNvSpPr>
              <a:spLocks/>
            </p:cNvSpPr>
            <p:nvPr/>
          </p:nvSpPr>
          <p:spPr bwMode="auto">
            <a:xfrm>
              <a:off x="6110794"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 name="Picture Placeholder 38">
            <a:extLst>
              <a:ext uri="{FF2B5EF4-FFF2-40B4-BE49-F238E27FC236}">
                <a16:creationId xmlns:a16="http://schemas.microsoft.com/office/drawing/2014/main" id="{3AD6F89A-BE59-3D46-8D99-972CD940DFD9}"/>
              </a:ext>
            </a:extLst>
          </p:cNvPr>
          <p:cNvSpPr>
            <a:spLocks noGrp="1"/>
          </p:cNvSpPr>
          <p:nvPr>
            <p:ph type="pic" sz="quarter" idx="17"/>
          </p:nvPr>
        </p:nvSpPr>
        <p:spPr>
          <a:xfrm>
            <a:off x="407988" y="341032"/>
            <a:ext cx="5640448" cy="5761038"/>
          </a:xfrm>
          <a:custGeom>
            <a:avLst/>
            <a:gdLst>
              <a:gd name="connsiteX0" fmla="*/ 5334786 w 5723503"/>
              <a:gd name="connsiteY0" fmla="*/ 4202324 h 6079105"/>
              <a:gd name="connsiteX1" fmla="*/ 5477176 w 5723503"/>
              <a:gd name="connsiteY1" fmla="*/ 4202324 h 6079105"/>
              <a:gd name="connsiteX2" fmla="*/ 5477176 w 5723503"/>
              <a:gd name="connsiteY2" fmla="*/ 4342372 h 6079105"/>
              <a:gd name="connsiteX3" fmla="*/ 5334786 w 5723503"/>
              <a:gd name="connsiteY3" fmla="*/ 4202324 h 6079105"/>
              <a:gd name="connsiteX4" fmla="*/ 5549767 w 5723503"/>
              <a:gd name="connsiteY4" fmla="*/ 4201562 h 6079105"/>
              <a:gd name="connsiteX5" fmla="*/ 5692157 w 5723503"/>
              <a:gd name="connsiteY5" fmla="*/ 4201562 h 6079105"/>
              <a:gd name="connsiteX6" fmla="*/ 5692157 w 5723503"/>
              <a:gd name="connsiteY6" fmla="*/ 4341546 h 6079105"/>
              <a:gd name="connsiteX7" fmla="*/ 5549767 w 5723503"/>
              <a:gd name="connsiteY7" fmla="*/ 4201562 h 6079105"/>
              <a:gd name="connsiteX8" fmla="*/ 5305408 w 5723503"/>
              <a:gd name="connsiteY8" fmla="*/ 4195979 h 6079105"/>
              <a:gd name="connsiteX9" fmla="*/ 5304901 w 5723503"/>
              <a:gd name="connsiteY9" fmla="*/ 4202324 h 6079105"/>
              <a:gd name="connsiteX10" fmla="*/ 5476923 w 5723503"/>
              <a:gd name="connsiteY10" fmla="*/ 4370991 h 6079105"/>
              <a:gd name="connsiteX11" fmla="*/ 5483269 w 5723503"/>
              <a:gd name="connsiteY11" fmla="*/ 4370483 h 6079105"/>
              <a:gd name="connsiteX12" fmla="*/ 5483078 w 5723503"/>
              <a:gd name="connsiteY12" fmla="*/ 4195979 h 6079105"/>
              <a:gd name="connsiteX13" fmla="*/ 5520960 w 5723503"/>
              <a:gd name="connsiteY13" fmla="*/ 4195154 h 6079105"/>
              <a:gd name="connsiteX14" fmla="*/ 5520452 w 5723503"/>
              <a:gd name="connsiteY14" fmla="*/ 4201499 h 6079105"/>
              <a:gd name="connsiteX15" fmla="*/ 5691904 w 5723503"/>
              <a:gd name="connsiteY15" fmla="*/ 4370230 h 6079105"/>
              <a:gd name="connsiteX16" fmla="*/ 5698249 w 5723503"/>
              <a:gd name="connsiteY16" fmla="*/ 4369785 h 6079105"/>
              <a:gd name="connsiteX17" fmla="*/ 5698630 w 5723503"/>
              <a:gd name="connsiteY17" fmla="*/ 4195154 h 6079105"/>
              <a:gd name="connsiteX18" fmla="*/ 5333264 w 5723503"/>
              <a:gd name="connsiteY18" fmla="*/ 3985811 h 6079105"/>
              <a:gd name="connsiteX19" fmla="*/ 5475654 w 5723503"/>
              <a:gd name="connsiteY19" fmla="*/ 3985811 h 6079105"/>
              <a:gd name="connsiteX20" fmla="*/ 5475654 w 5723503"/>
              <a:gd name="connsiteY20" fmla="*/ 4125795 h 6079105"/>
              <a:gd name="connsiteX21" fmla="*/ 5333264 w 5723503"/>
              <a:gd name="connsiteY21" fmla="*/ 3985811 h 6079105"/>
              <a:gd name="connsiteX22" fmla="*/ 5548181 w 5723503"/>
              <a:gd name="connsiteY22" fmla="*/ 3985050 h 6079105"/>
              <a:gd name="connsiteX23" fmla="*/ 5690571 w 5723503"/>
              <a:gd name="connsiteY23" fmla="*/ 3985050 h 6079105"/>
              <a:gd name="connsiteX24" fmla="*/ 5690571 w 5723503"/>
              <a:gd name="connsiteY24" fmla="*/ 4124971 h 6079105"/>
              <a:gd name="connsiteX25" fmla="*/ 5548181 w 5723503"/>
              <a:gd name="connsiteY25" fmla="*/ 3985050 h 6079105"/>
              <a:gd name="connsiteX26" fmla="*/ 5303885 w 5723503"/>
              <a:gd name="connsiteY26" fmla="*/ 3979466 h 6079105"/>
              <a:gd name="connsiteX27" fmla="*/ 5303251 w 5723503"/>
              <a:gd name="connsiteY27" fmla="*/ 3985748 h 6079105"/>
              <a:gd name="connsiteX28" fmla="*/ 5475210 w 5723503"/>
              <a:gd name="connsiteY28" fmla="*/ 4154415 h 6079105"/>
              <a:gd name="connsiteX29" fmla="*/ 5481555 w 5723503"/>
              <a:gd name="connsiteY29" fmla="*/ 4153971 h 6079105"/>
              <a:gd name="connsiteX30" fmla="*/ 5481555 w 5723503"/>
              <a:gd name="connsiteY30" fmla="*/ 3979466 h 6079105"/>
              <a:gd name="connsiteX31" fmla="*/ 5518866 w 5723503"/>
              <a:gd name="connsiteY31" fmla="*/ 3978705 h 6079105"/>
              <a:gd name="connsiteX32" fmla="*/ 5518612 w 5723503"/>
              <a:gd name="connsiteY32" fmla="*/ 3985050 h 6079105"/>
              <a:gd name="connsiteX33" fmla="*/ 5690190 w 5723503"/>
              <a:gd name="connsiteY33" fmla="*/ 4153717 h 6079105"/>
              <a:gd name="connsiteX34" fmla="*/ 5696536 w 5723503"/>
              <a:gd name="connsiteY34" fmla="*/ 4153209 h 6079105"/>
              <a:gd name="connsiteX35" fmla="*/ 5696536 w 5723503"/>
              <a:gd name="connsiteY35" fmla="*/ 3978705 h 6079105"/>
              <a:gd name="connsiteX36" fmla="*/ 5336436 w 5723503"/>
              <a:gd name="connsiteY36" fmla="*/ 3771646 h 6079105"/>
              <a:gd name="connsiteX37" fmla="*/ 5478762 w 5723503"/>
              <a:gd name="connsiteY37" fmla="*/ 3771646 h 6079105"/>
              <a:gd name="connsiteX38" fmla="*/ 5478762 w 5723503"/>
              <a:gd name="connsiteY38" fmla="*/ 3911694 h 6079105"/>
              <a:gd name="connsiteX39" fmla="*/ 5336436 w 5723503"/>
              <a:gd name="connsiteY39" fmla="*/ 3771646 h 6079105"/>
              <a:gd name="connsiteX40" fmla="*/ 5551353 w 5723503"/>
              <a:gd name="connsiteY40" fmla="*/ 3770821 h 6079105"/>
              <a:gd name="connsiteX41" fmla="*/ 5693743 w 5723503"/>
              <a:gd name="connsiteY41" fmla="*/ 3770821 h 6079105"/>
              <a:gd name="connsiteX42" fmla="*/ 5693743 w 5723503"/>
              <a:gd name="connsiteY42" fmla="*/ 3910869 h 6079105"/>
              <a:gd name="connsiteX43" fmla="*/ 5551353 w 5723503"/>
              <a:gd name="connsiteY43" fmla="*/ 3770821 h 6079105"/>
              <a:gd name="connsiteX44" fmla="*/ 5306995 w 5723503"/>
              <a:gd name="connsiteY44" fmla="*/ 3765301 h 6079105"/>
              <a:gd name="connsiteX45" fmla="*/ 5306487 w 5723503"/>
              <a:gd name="connsiteY45" fmla="*/ 3771647 h 6079105"/>
              <a:gd name="connsiteX46" fmla="*/ 5478509 w 5723503"/>
              <a:gd name="connsiteY46" fmla="*/ 3940314 h 6079105"/>
              <a:gd name="connsiteX47" fmla="*/ 5484855 w 5723503"/>
              <a:gd name="connsiteY47" fmla="*/ 3939806 h 6079105"/>
              <a:gd name="connsiteX48" fmla="*/ 5484664 w 5723503"/>
              <a:gd name="connsiteY48" fmla="*/ 3765301 h 6079105"/>
              <a:gd name="connsiteX49" fmla="*/ 5521975 w 5723503"/>
              <a:gd name="connsiteY49" fmla="*/ 3764540 h 6079105"/>
              <a:gd name="connsiteX50" fmla="*/ 5521531 w 5723503"/>
              <a:gd name="connsiteY50" fmla="*/ 3770885 h 6079105"/>
              <a:gd name="connsiteX51" fmla="*/ 5693490 w 5723503"/>
              <a:gd name="connsiteY51" fmla="*/ 3939552 h 6079105"/>
              <a:gd name="connsiteX52" fmla="*/ 5699835 w 5723503"/>
              <a:gd name="connsiteY52" fmla="*/ 3939044 h 6079105"/>
              <a:gd name="connsiteX53" fmla="*/ 5699645 w 5723503"/>
              <a:gd name="connsiteY53" fmla="*/ 3764540 h 6079105"/>
              <a:gd name="connsiteX54" fmla="*/ 5334786 w 5723503"/>
              <a:gd name="connsiteY54" fmla="*/ 3555070 h 6079105"/>
              <a:gd name="connsiteX55" fmla="*/ 5477176 w 5723503"/>
              <a:gd name="connsiteY55" fmla="*/ 3555070 h 6079105"/>
              <a:gd name="connsiteX56" fmla="*/ 5477176 w 5723503"/>
              <a:gd name="connsiteY56" fmla="*/ 3695118 h 6079105"/>
              <a:gd name="connsiteX57" fmla="*/ 5334786 w 5723503"/>
              <a:gd name="connsiteY57" fmla="*/ 3555070 h 6079105"/>
              <a:gd name="connsiteX58" fmla="*/ 5549767 w 5723503"/>
              <a:gd name="connsiteY58" fmla="*/ 3554309 h 6079105"/>
              <a:gd name="connsiteX59" fmla="*/ 5692157 w 5723503"/>
              <a:gd name="connsiteY59" fmla="*/ 3554309 h 6079105"/>
              <a:gd name="connsiteX60" fmla="*/ 5692157 w 5723503"/>
              <a:gd name="connsiteY60" fmla="*/ 3694293 h 6079105"/>
              <a:gd name="connsiteX61" fmla="*/ 5549767 w 5723503"/>
              <a:gd name="connsiteY61" fmla="*/ 3554309 h 6079105"/>
              <a:gd name="connsiteX62" fmla="*/ 5305472 w 5723503"/>
              <a:gd name="connsiteY62" fmla="*/ 3548725 h 6079105"/>
              <a:gd name="connsiteX63" fmla="*/ 5304774 w 5723503"/>
              <a:gd name="connsiteY63" fmla="*/ 3555071 h 6079105"/>
              <a:gd name="connsiteX64" fmla="*/ 5476796 w 5723503"/>
              <a:gd name="connsiteY64" fmla="*/ 3723738 h 6079105"/>
              <a:gd name="connsiteX65" fmla="*/ 5483141 w 5723503"/>
              <a:gd name="connsiteY65" fmla="*/ 3723230 h 6079105"/>
              <a:gd name="connsiteX66" fmla="*/ 5483141 w 5723503"/>
              <a:gd name="connsiteY66" fmla="*/ 3548725 h 6079105"/>
              <a:gd name="connsiteX67" fmla="*/ 5520452 w 5723503"/>
              <a:gd name="connsiteY67" fmla="*/ 3547964 h 6079105"/>
              <a:gd name="connsiteX68" fmla="*/ 5520452 w 5723503"/>
              <a:gd name="connsiteY68" fmla="*/ 3554246 h 6079105"/>
              <a:gd name="connsiteX69" fmla="*/ 5691777 w 5723503"/>
              <a:gd name="connsiteY69" fmla="*/ 3722913 h 6079105"/>
              <a:gd name="connsiteX70" fmla="*/ 5698122 w 5723503"/>
              <a:gd name="connsiteY70" fmla="*/ 3722468 h 6079105"/>
              <a:gd name="connsiteX71" fmla="*/ 5698122 w 5723503"/>
              <a:gd name="connsiteY71" fmla="*/ 3547964 h 6079105"/>
              <a:gd name="connsiteX72" fmla="*/ 5337959 w 5723503"/>
              <a:gd name="connsiteY72" fmla="*/ 3340969 h 6079105"/>
              <a:gd name="connsiteX73" fmla="*/ 5480349 w 5723503"/>
              <a:gd name="connsiteY73" fmla="*/ 3340969 h 6079105"/>
              <a:gd name="connsiteX74" fmla="*/ 5480349 w 5723503"/>
              <a:gd name="connsiteY74" fmla="*/ 3480953 h 6079105"/>
              <a:gd name="connsiteX75" fmla="*/ 5337959 w 5723503"/>
              <a:gd name="connsiteY75" fmla="*/ 3340969 h 6079105"/>
              <a:gd name="connsiteX76" fmla="*/ 5552876 w 5723503"/>
              <a:gd name="connsiteY76" fmla="*/ 3340144 h 6079105"/>
              <a:gd name="connsiteX77" fmla="*/ 5695266 w 5723503"/>
              <a:gd name="connsiteY77" fmla="*/ 3340144 h 6079105"/>
              <a:gd name="connsiteX78" fmla="*/ 5695266 w 5723503"/>
              <a:gd name="connsiteY78" fmla="*/ 3480192 h 6079105"/>
              <a:gd name="connsiteX79" fmla="*/ 5552876 w 5723503"/>
              <a:gd name="connsiteY79" fmla="*/ 3340144 h 6079105"/>
              <a:gd name="connsiteX80" fmla="*/ 5308581 w 5723503"/>
              <a:gd name="connsiteY80" fmla="*/ 3334560 h 6079105"/>
              <a:gd name="connsiteX81" fmla="*/ 5308137 w 5723503"/>
              <a:gd name="connsiteY81" fmla="*/ 3340906 h 6079105"/>
              <a:gd name="connsiteX82" fmla="*/ 5480096 w 5723503"/>
              <a:gd name="connsiteY82" fmla="*/ 3509636 h 6079105"/>
              <a:gd name="connsiteX83" fmla="*/ 5486441 w 5723503"/>
              <a:gd name="connsiteY83" fmla="*/ 3509129 h 6079105"/>
              <a:gd name="connsiteX84" fmla="*/ 5486251 w 5723503"/>
              <a:gd name="connsiteY84" fmla="*/ 3334560 h 6079105"/>
              <a:gd name="connsiteX85" fmla="*/ 5523498 w 5723503"/>
              <a:gd name="connsiteY85" fmla="*/ 3333863 h 6079105"/>
              <a:gd name="connsiteX86" fmla="*/ 5522990 w 5723503"/>
              <a:gd name="connsiteY86" fmla="*/ 3340208 h 6079105"/>
              <a:gd name="connsiteX87" fmla="*/ 5695013 w 5723503"/>
              <a:gd name="connsiteY87" fmla="*/ 3508875 h 6079105"/>
              <a:gd name="connsiteX88" fmla="*/ 5701358 w 5723503"/>
              <a:gd name="connsiteY88" fmla="*/ 3508367 h 6079105"/>
              <a:gd name="connsiteX89" fmla="*/ 5701168 w 5723503"/>
              <a:gd name="connsiteY89" fmla="*/ 3333863 h 6079105"/>
              <a:gd name="connsiteX90" fmla="*/ 0 w 5723503"/>
              <a:gd name="connsiteY90" fmla="*/ 0 h 6079105"/>
              <a:gd name="connsiteX91" fmla="*/ 5723503 w 5723503"/>
              <a:gd name="connsiteY91" fmla="*/ 0 h 6079105"/>
              <a:gd name="connsiteX92" fmla="*/ 5723503 w 5723503"/>
              <a:gd name="connsiteY92" fmla="*/ 6079105 h 6079105"/>
              <a:gd name="connsiteX93" fmla="*/ 0 w 5723503"/>
              <a:gd name="connsiteY93" fmla="*/ 6079105 h 607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723503" h="6079105">
                <a:moveTo>
                  <a:pt x="5334786" y="4202324"/>
                </a:moveTo>
                <a:lnTo>
                  <a:pt x="5477176" y="4202324"/>
                </a:lnTo>
                <a:lnTo>
                  <a:pt x="5477176" y="4342372"/>
                </a:lnTo>
                <a:cubicBezTo>
                  <a:pt x="5456465" y="4274603"/>
                  <a:pt x="5402887" y="4221906"/>
                  <a:pt x="5334786" y="4202324"/>
                </a:cubicBezTo>
                <a:close/>
                <a:moveTo>
                  <a:pt x="5549767" y="4201562"/>
                </a:moveTo>
                <a:lnTo>
                  <a:pt x="5692157" y="4201562"/>
                </a:lnTo>
                <a:lnTo>
                  <a:pt x="5692157" y="4341546"/>
                </a:lnTo>
                <a:cubicBezTo>
                  <a:pt x="5671489" y="4273764"/>
                  <a:pt x="5617889" y="4221069"/>
                  <a:pt x="5549767" y="4201562"/>
                </a:cubicBezTo>
                <a:close/>
                <a:moveTo>
                  <a:pt x="5305408" y="4195979"/>
                </a:moveTo>
                <a:lnTo>
                  <a:pt x="5304901" y="4202324"/>
                </a:lnTo>
                <a:cubicBezTo>
                  <a:pt x="5393001" y="4214782"/>
                  <a:pt x="5462729" y="4283150"/>
                  <a:pt x="5476923" y="4370991"/>
                </a:cubicBezTo>
                <a:lnTo>
                  <a:pt x="5483269" y="4370483"/>
                </a:lnTo>
                <a:lnTo>
                  <a:pt x="5483078" y="4195979"/>
                </a:lnTo>
                <a:close/>
                <a:moveTo>
                  <a:pt x="5520960" y="4195154"/>
                </a:moveTo>
                <a:lnTo>
                  <a:pt x="5520452" y="4201499"/>
                </a:lnTo>
                <a:cubicBezTo>
                  <a:pt x="5608351" y="4214194"/>
                  <a:pt x="5677801" y="4282542"/>
                  <a:pt x="5691904" y="4370230"/>
                </a:cubicBezTo>
                <a:lnTo>
                  <a:pt x="5698249" y="4369785"/>
                </a:lnTo>
                <a:lnTo>
                  <a:pt x="5698630" y="4195154"/>
                </a:lnTo>
                <a:close/>
                <a:moveTo>
                  <a:pt x="5333264" y="3985811"/>
                </a:moveTo>
                <a:lnTo>
                  <a:pt x="5475654" y="3985811"/>
                </a:lnTo>
                <a:lnTo>
                  <a:pt x="5475654" y="4125795"/>
                </a:lnTo>
                <a:cubicBezTo>
                  <a:pt x="5454986" y="4058013"/>
                  <a:pt x="5401386" y="4005318"/>
                  <a:pt x="5333264" y="3985811"/>
                </a:cubicBezTo>
                <a:close/>
                <a:moveTo>
                  <a:pt x="5548181" y="3985050"/>
                </a:moveTo>
                <a:lnTo>
                  <a:pt x="5690571" y="3985050"/>
                </a:lnTo>
                <a:lnTo>
                  <a:pt x="5690571" y="4124971"/>
                </a:lnTo>
                <a:cubicBezTo>
                  <a:pt x="5669824" y="4057251"/>
                  <a:pt x="5616252" y="4004608"/>
                  <a:pt x="5548181" y="3985050"/>
                </a:cubicBezTo>
                <a:close/>
                <a:moveTo>
                  <a:pt x="5303885" y="3979466"/>
                </a:moveTo>
                <a:lnTo>
                  <a:pt x="5303251" y="3985748"/>
                </a:lnTo>
                <a:cubicBezTo>
                  <a:pt x="5391327" y="3998232"/>
                  <a:pt x="5461023" y="4066593"/>
                  <a:pt x="5475210" y="4154415"/>
                </a:cubicBezTo>
                <a:lnTo>
                  <a:pt x="5481555" y="4153971"/>
                </a:lnTo>
                <a:lnTo>
                  <a:pt x="5481555" y="3979466"/>
                </a:lnTo>
                <a:close/>
                <a:moveTo>
                  <a:pt x="5518866" y="3978705"/>
                </a:moveTo>
                <a:lnTo>
                  <a:pt x="5518612" y="3985050"/>
                </a:lnTo>
                <a:cubicBezTo>
                  <a:pt x="5606540" y="3997687"/>
                  <a:pt x="5676048" y="4066015"/>
                  <a:pt x="5690190" y="4153717"/>
                </a:cubicBezTo>
                <a:lnTo>
                  <a:pt x="5696536" y="4153209"/>
                </a:lnTo>
                <a:lnTo>
                  <a:pt x="5696536" y="3978705"/>
                </a:lnTo>
                <a:close/>
                <a:moveTo>
                  <a:pt x="5336436" y="3771646"/>
                </a:moveTo>
                <a:lnTo>
                  <a:pt x="5478762" y="3771646"/>
                </a:lnTo>
                <a:lnTo>
                  <a:pt x="5478762" y="3911694"/>
                </a:lnTo>
                <a:cubicBezTo>
                  <a:pt x="5458064" y="3843940"/>
                  <a:pt x="5404513" y="3791246"/>
                  <a:pt x="5336436" y="3771646"/>
                </a:cubicBezTo>
                <a:close/>
                <a:moveTo>
                  <a:pt x="5551353" y="3770821"/>
                </a:moveTo>
                <a:lnTo>
                  <a:pt x="5693743" y="3770821"/>
                </a:lnTo>
                <a:lnTo>
                  <a:pt x="5693743" y="3910869"/>
                </a:lnTo>
                <a:cubicBezTo>
                  <a:pt x="5673032" y="3843100"/>
                  <a:pt x="5619454" y="3790403"/>
                  <a:pt x="5551353" y="3770821"/>
                </a:cubicBezTo>
                <a:close/>
                <a:moveTo>
                  <a:pt x="5306995" y="3765301"/>
                </a:moveTo>
                <a:lnTo>
                  <a:pt x="5306487" y="3771647"/>
                </a:lnTo>
                <a:cubicBezTo>
                  <a:pt x="5394588" y="3784105"/>
                  <a:pt x="5464315" y="3852472"/>
                  <a:pt x="5478509" y="3940314"/>
                </a:cubicBezTo>
                <a:lnTo>
                  <a:pt x="5484855" y="3939806"/>
                </a:lnTo>
                <a:lnTo>
                  <a:pt x="5484664" y="3765301"/>
                </a:lnTo>
                <a:close/>
                <a:moveTo>
                  <a:pt x="5521975" y="3764540"/>
                </a:moveTo>
                <a:lnTo>
                  <a:pt x="5521531" y="3770885"/>
                </a:lnTo>
                <a:cubicBezTo>
                  <a:pt x="5609607" y="3783369"/>
                  <a:pt x="5679303" y="3851731"/>
                  <a:pt x="5693490" y="3939552"/>
                </a:cubicBezTo>
                <a:lnTo>
                  <a:pt x="5699835" y="3939044"/>
                </a:lnTo>
                <a:lnTo>
                  <a:pt x="5699645" y="3764540"/>
                </a:lnTo>
                <a:close/>
                <a:moveTo>
                  <a:pt x="5334786" y="3555070"/>
                </a:moveTo>
                <a:lnTo>
                  <a:pt x="5477176" y="3555070"/>
                </a:lnTo>
                <a:lnTo>
                  <a:pt x="5477176" y="3695118"/>
                </a:lnTo>
                <a:cubicBezTo>
                  <a:pt x="5456465" y="3627349"/>
                  <a:pt x="5402887" y="3574652"/>
                  <a:pt x="5334786" y="3555070"/>
                </a:cubicBezTo>
                <a:close/>
                <a:moveTo>
                  <a:pt x="5549767" y="3554309"/>
                </a:moveTo>
                <a:lnTo>
                  <a:pt x="5692157" y="3554309"/>
                </a:lnTo>
                <a:lnTo>
                  <a:pt x="5692157" y="3694293"/>
                </a:lnTo>
                <a:cubicBezTo>
                  <a:pt x="5671489" y="3626511"/>
                  <a:pt x="5617889" y="3573816"/>
                  <a:pt x="5549767" y="3554309"/>
                </a:cubicBezTo>
                <a:close/>
                <a:moveTo>
                  <a:pt x="5305472" y="3548725"/>
                </a:moveTo>
                <a:lnTo>
                  <a:pt x="5304774" y="3555071"/>
                </a:lnTo>
                <a:cubicBezTo>
                  <a:pt x="5392874" y="3567529"/>
                  <a:pt x="5462602" y="3635896"/>
                  <a:pt x="5476796" y="3723738"/>
                </a:cubicBezTo>
                <a:lnTo>
                  <a:pt x="5483141" y="3723230"/>
                </a:lnTo>
                <a:lnTo>
                  <a:pt x="5483141" y="3548725"/>
                </a:lnTo>
                <a:close/>
                <a:moveTo>
                  <a:pt x="5520452" y="3547964"/>
                </a:moveTo>
                <a:lnTo>
                  <a:pt x="5520452" y="3554246"/>
                </a:lnTo>
                <a:cubicBezTo>
                  <a:pt x="5608282" y="3566984"/>
                  <a:pt x="5677664" y="3635289"/>
                  <a:pt x="5691777" y="3722913"/>
                </a:cubicBezTo>
                <a:lnTo>
                  <a:pt x="5698122" y="3722468"/>
                </a:lnTo>
                <a:lnTo>
                  <a:pt x="5698122" y="3547964"/>
                </a:lnTo>
                <a:close/>
                <a:moveTo>
                  <a:pt x="5337959" y="3340969"/>
                </a:moveTo>
                <a:lnTo>
                  <a:pt x="5480349" y="3340969"/>
                </a:lnTo>
                <a:lnTo>
                  <a:pt x="5480349" y="3480953"/>
                </a:lnTo>
                <a:cubicBezTo>
                  <a:pt x="5459620" y="3413209"/>
                  <a:pt x="5406045" y="3360539"/>
                  <a:pt x="5337959" y="3340969"/>
                </a:cubicBezTo>
                <a:close/>
                <a:moveTo>
                  <a:pt x="5552876" y="3340144"/>
                </a:moveTo>
                <a:lnTo>
                  <a:pt x="5695266" y="3340144"/>
                </a:lnTo>
                <a:lnTo>
                  <a:pt x="5695266" y="3480192"/>
                </a:lnTo>
                <a:cubicBezTo>
                  <a:pt x="5674555" y="3412423"/>
                  <a:pt x="5620977" y="3359726"/>
                  <a:pt x="5552876" y="3340144"/>
                </a:cubicBezTo>
                <a:close/>
                <a:moveTo>
                  <a:pt x="5308581" y="3334560"/>
                </a:moveTo>
                <a:lnTo>
                  <a:pt x="5308137" y="3340906"/>
                </a:lnTo>
                <a:cubicBezTo>
                  <a:pt x="5396233" y="3353397"/>
                  <a:pt x="5465934" y="3421790"/>
                  <a:pt x="5480096" y="3509636"/>
                </a:cubicBezTo>
                <a:lnTo>
                  <a:pt x="5486441" y="3509129"/>
                </a:lnTo>
                <a:lnTo>
                  <a:pt x="5486251" y="3334560"/>
                </a:lnTo>
                <a:close/>
                <a:moveTo>
                  <a:pt x="5523498" y="3333863"/>
                </a:moveTo>
                <a:lnTo>
                  <a:pt x="5522990" y="3340208"/>
                </a:lnTo>
                <a:cubicBezTo>
                  <a:pt x="5611091" y="3352666"/>
                  <a:pt x="5680819" y="3421034"/>
                  <a:pt x="5695013" y="3508875"/>
                </a:cubicBezTo>
                <a:lnTo>
                  <a:pt x="5701358" y="3508367"/>
                </a:lnTo>
                <a:lnTo>
                  <a:pt x="5701168" y="3333863"/>
                </a:lnTo>
                <a:close/>
                <a:moveTo>
                  <a:pt x="0" y="0"/>
                </a:moveTo>
                <a:lnTo>
                  <a:pt x="5723503" y="0"/>
                </a:lnTo>
                <a:lnTo>
                  <a:pt x="5723503" y="6079105"/>
                </a:lnTo>
                <a:lnTo>
                  <a:pt x="0" y="6079105"/>
                </a:lnTo>
                <a:close/>
              </a:path>
            </a:pathLst>
          </a:custGeom>
          <a:solidFill>
            <a:schemeClr val="bg2"/>
          </a:solidFill>
        </p:spPr>
        <p:txBody>
          <a:bodyPr wrap="square">
            <a:noAutofit/>
          </a:bodyPr>
          <a:lstStyle>
            <a:lvl1pPr marL="0" indent="0">
              <a:buNone/>
              <a:defRPr/>
            </a:lvl1pPr>
          </a:lstStyle>
          <a:p>
            <a:r>
              <a:rPr lang="zh-CN" altLang="en-US"/>
              <a:t>单击图标添加图片</a:t>
            </a:r>
            <a:endParaRPr lang="en-GB"/>
          </a:p>
        </p:txBody>
      </p:sp>
      <p:grpSp>
        <p:nvGrpSpPr>
          <p:cNvPr id="25" name="Group 24">
            <a:extLst>
              <a:ext uri="{FF2B5EF4-FFF2-40B4-BE49-F238E27FC236}">
                <a16:creationId xmlns:a16="http://schemas.microsoft.com/office/drawing/2014/main" id="{38E0DD39-24FC-AE4A-B94A-C42AB36CC1B7}"/>
              </a:ext>
            </a:extLst>
          </p:cNvPr>
          <p:cNvGrpSpPr/>
          <p:nvPr userDrawn="1"/>
        </p:nvGrpSpPr>
        <p:grpSpPr>
          <a:xfrm>
            <a:off x="6057785" y="3509736"/>
            <a:ext cx="593202" cy="975172"/>
            <a:chOff x="6110794" y="3712667"/>
            <a:chExt cx="604094" cy="1022367"/>
          </a:xfrm>
        </p:grpSpPr>
        <p:sp>
          <p:nvSpPr>
            <p:cNvPr id="26" name="Freeform 5">
              <a:extLst>
                <a:ext uri="{FF2B5EF4-FFF2-40B4-BE49-F238E27FC236}">
                  <a16:creationId xmlns:a16="http://schemas.microsoft.com/office/drawing/2014/main" id="{49978BDD-C6D6-E346-A9BF-0B2D9F39C175}"/>
                </a:ext>
              </a:extLst>
            </p:cNvPr>
            <p:cNvSpPr>
              <a:spLocks/>
            </p:cNvSpPr>
            <p:nvPr/>
          </p:nvSpPr>
          <p:spPr bwMode="auto">
            <a:xfrm>
              <a:off x="6541123"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6">
              <a:extLst>
                <a:ext uri="{FF2B5EF4-FFF2-40B4-BE49-F238E27FC236}">
                  <a16:creationId xmlns:a16="http://schemas.microsoft.com/office/drawing/2014/main" id="{A96E66DD-FA9B-E349-A02B-B02BD88A5B71}"/>
                </a:ext>
              </a:extLst>
            </p:cNvPr>
            <p:cNvSpPr>
              <a:spLocks/>
            </p:cNvSpPr>
            <p:nvPr/>
          </p:nvSpPr>
          <p:spPr bwMode="auto">
            <a:xfrm>
              <a:off x="6326542"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7">
              <a:extLst>
                <a:ext uri="{FF2B5EF4-FFF2-40B4-BE49-F238E27FC236}">
                  <a16:creationId xmlns:a16="http://schemas.microsoft.com/office/drawing/2014/main" id="{0BED5851-F849-E24E-95C6-51A56A1EAAE1}"/>
                </a:ext>
              </a:extLst>
            </p:cNvPr>
            <p:cNvSpPr>
              <a:spLocks/>
            </p:cNvSpPr>
            <p:nvPr/>
          </p:nvSpPr>
          <p:spPr bwMode="auto">
            <a:xfrm>
              <a:off x="6110794"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0">
              <a:extLst>
                <a:ext uri="{FF2B5EF4-FFF2-40B4-BE49-F238E27FC236}">
                  <a16:creationId xmlns:a16="http://schemas.microsoft.com/office/drawing/2014/main" id="{4E532B9F-6985-4441-A777-C3F92A34A1C6}"/>
                </a:ext>
              </a:extLst>
            </p:cNvPr>
            <p:cNvSpPr>
              <a:spLocks/>
            </p:cNvSpPr>
            <p:nvPr/>
          </p:nvSpPr>
          <p:spPr bwMode="auto">
            <a:xfrm>
              <a:off x="6541123"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5"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1">
              <a:extLst>
                <a:ext uri="{FF2B5EF4-FFF2-40B4-BE49-F238E27FC236}">
                  <a16:creationId xmlns:a16="http://schemas.microsoft.com/office/drawing/2014/main" id="{D0FECB11-A712-D749-8E29-7C09F9ABC2AC}"/>
                </a:ext>
              </a:extLst>
            </p:cNvPr>
            <p:cNvSpPr>
              <a:spLocks/>
            </p:cNvSpPr>
            <p:nvPr/>
          </p:nvSpPr>
          <p:spPr bwMode="auto">
            <a:xfrm>
              <a:off x="6326542"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2">
              <a:extLst>
                <a:ext uri="{FF2B5EF4-FFF2-40B4-BE49-F238E27FC236}">
                  <a16:creationId xmlns:a16="http://schemas.microsoft.com/office/drawing/2014/main" id="{7AFEB51D-BF86-0246-A2F2-F5C22BB1869A}"/>
                </a:ext>
              </a:extLst>
            </p:cNvPr>
            <p:cNvSpPr>
              <a:spLocks/>
            </p:cNvSpPr>
            <p:nvPr/>
          </p:nvSpPr>
          <p:spPr bwMode="auto">
            <a:xfrm>
              <a:off x="6110794"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5">
              <a:extLst>
                <a:ext uri="{FF2B5EF4-FFF2-40B4-BE49-F238E27FC236}">
                  <a16:creationId xmlns:a16="http://schemas.microsoft.com/office/drawing/2014/main" id="{3D1B6517-4291-0D49-865E-755AA0F3D0A0}"/>
                </a:ext>
              </a:extLst>
            </p:cNvPr>
            <p:cNvSpPr>
              <a:spLocks/>
            </p:cNvSpPr>
            <p:nvPr/>
          </p:nvSpPr>
          <p:spPr bwMode="auto">
            <a:xfrm>
              <a:off x="6541123"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32">
              <a:extLst>
                <a:ext uri="{FF2B5EF4-FFF2-40B4-BE49-F238E27FC236}">
                  <a16:creationId xmlns:a16="http://schemas.microsoft.com/office/drawing/2014/main" id="{59B0FCA4-8AFD-B642-906B-F5222B92BE36}"/>
                </a:ext>
              </a:extLst>
            </p:cNvPr>
            <p:cNvSpPr>
              <a:spLocks/>
            </p:cNvSpPr>
            <p:nvPr/>
          </p:nvSpPr>
          <p:spPr bwMode="auto">
            <a:xfrm>
              <a:off x="6326542"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3">
              <a:extLst>
                <a:ext uri="{FF2B5EF4-FFF2-40B4-BE49-F238E27FC236}">
                  <a16:creationId xmlns:a16="http://schemas.microsoft.com/office/drawing/2014/main" id="{EBDD0B13-0DE3-7146-98EA-91D20B7A1FBC}"/>
                </a:ext>
              </a:extLst>
            </p:cNvPr>
            <p:cNvSpPr>
              <a:spLocks/>
            </p:cNvSpPr>
            <p:nvPr/>
          </p:nvSpPr>
          <p:spPr bwMode="auto">
            <a:xfrm>
              <a:off x="6110794"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
              <a:extLst>
                <a:ext uri="{FF2B5EF4-FFF2-40B4-BE49-F238E27FC236}">
                  <a16:creationId xmlns:a16="http://schemas.microsoft.com/office/drawing/2014/main" id="{9496EABF-F658-AC4D-AE40-621EDD04F1BC}"/>
                </a:ext>
              </a:extLst>
            </p:cNvPr>
            <p:cNvSpPr>
              <a:spLocks/>
            </p:cNvSpPr>
            <p:nvPr/>
          </p:nvSpPr>
          <p:spPr bwMode="auto">
            <a:xfrm>
              <a:off x="6541123"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
              <a:extLst>
                <a:ext uri="{FF2B5EF4-FFF2-40B4-BE49-F238E27FC236}">
                  <a16:creationId xmlns:a16="http://schemas.microsoft.com/office/drawing/2014/main" id="{41EEB260-02BE-7F4E-B46B-04B5A9453900}"/>
                </a:ext>
              </a:extLst>
            </p:cNvPr>
            <p:cNvSpPr>
              <a:spLocks/>
            </p:cNvSpPr>
            <p:nvPr/>
          </p:nvSpPr>
          <p:spPr bwMode="auto">
            <a:xfrm>
              <a:off x="6326542"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2">
              <a:extLst>
                <a:ext uri="{FF2B5EF4-FFF2-40B4-BE49-F238E27FC236}">
                  <a16:creationId xmlns:a16="http://schemas.microsoft.com/office/drawing/2014/main" id="{95BDCD68-13DD-4649-9A16-558E7BD975CA}"/>
                </a:ext>
              </a:extLst>
            </p:cNvPr>
            <p:cNvSpPr>
              <a:spLocks/>
            </p:cNvSpPr>
            <p:nvPr/>
          </p:nvSpPr>
          <p:spPr bwMode="auto">
            <a:xfrm>
              <a:off x="6110794"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5">
              <a:extLst>
                <a:ext uri="{FF2B5EF4-FFF2-40B4-BE49-F238E27FC236}">
                  <a16:creationId xmlns:a16="http://schemas.microsoft.com/office/drawing/2014/main" id="{9AC229A1-06B0-4846-ACB3-26E7B3FF7EE5}"/>
                </a:ext>
              </a:extLst>
            </p:cNvPr>
            <p:cNvSpPr>
              <a:spLocks/>
            </p:cNvSpPr>
            <p:nvPr/>
          </p:nvSpPr>
          <p:spPr bwMode="auto">
            <a:xfrm>
              <a:off x="6541123"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6">
              <a:extLst>
                <a:ext uri="{FF2B5EF4-FFF2-40B4-BE49-F238E27FC236}">
                  <a16:creationId xmlns:a16="http://schemas.microsoft.com/office/drawing/2014/main" id="{CE8EB986-BC20-D74F-A600-F58016D26EF7}"/>
                </a:ext>
              </a:extLst>
            </p:cNvPr>
            <p:cNvSpPr>
              <a:spLocks/>
            </p:cNvSpPr>
            <p:nvPr/>
          </p:nvSpPr>
          <p:spPr bwMode="auto">
            <a:xfrm>
              <a:off x="6326542"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7">
              <a:extLst>
                <a:ext uri="{FF2B5EF4-FFF2-40B4-BE49-F238E27FC236}">
                  <a16:creationId xmlns:a16="http://schemas.microsoft.com/office/drawing/2014/main" id="{E8904A61-0677-0E46-A571-C96981D72556}"/>
                </a:ext>
              </a:extLst>
            </p:cNvPr>
            <p:cNvSpPr>
              <a:spLocks/>
            </p:cNvSpPr>
            <p:nvPr/>
          </p:nvSpPr>
          <p:spPr bwMode="auto">
            <a:xfrm>
              <a:off x="6110794"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58943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w/o 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24" name="Title 1">
            <a:extLst>
              <a:ext uri="{FF2B5EF4-FFF2-40B4-BE49-F238E27FC236}">
                <a16:creationId xmlns:a16="http://schemas.microsoft.com/office/drawing/2014/main" id="{81B0651E-9135-824D-AF58-78D1394793C7}"/>
              </a:ext>
            </a:extLst>
          </p:cNvPr>
          <p:cNvSpPr>
            <a:spLocks noGrp="1"/>
          </p:cNvSpPr>
          <p:nvPr>
            <p:ph type="title"/>
          </p:nvPr>
        </p:nvSpPr>
        <p:spPr>
          <a:xfrm>
            <a:off x="1341620" y="2907462"/>
            <a:ext cx="9512652" cy="480131"/>
          </a:xfrm>
        </p:spPr>
        <p:txBody>
          <a:bodyPr wrap="square" anchor="ctr">
            <a:spAutoFit/>
          </a:bodyPr>
          <a:lstStyle>
            <a:lvl1pPr algn="ctr">
              <a:defRPr/>
            </a:lvl1pPr>
          </a:lstStyle>
          <a:p>
            <a:r>
              <a:rPr lang="zh-CN" altLang="en-US"/>
              <a:t>单击此处编辑母版标题样式</a:t>
            </a:r>
            <a:endParaRPr lang="en-BE"/>
          </a:p>
        </p:txBody>
      </p:sp>
      <p:sp>
        <p:nvSpPr>
          <p:cNvPr id="31" name="Freeform 5">
            <a:extLst>
              <a:ext uri="{FF2B5EF4-FFF2-40B4-BE49-F238E27FC236}">
                <a16:creationId xmlns:a16="http://schemas.microsoft.com/office/drawing/2014/main" id="{611D4F9B-925D-BC43-8260-F404EAE16834}"/>
              </a:ext>
            </a:extLst>
          </p:cNvPr>
          <p:cNvSpPr>
            <a:spLocks noChangeAspect="1"/>
          </p:cNvSpPr>
          <p:nvPr/>
        </p:nvSpPr>
        <p:spPr bwMode="auto">
          <a:xfrm rot="16200000" flipH="1">
            <a:off x="10176099" y="4530825"/>
            <a:ext cx="1613827" cy="1602000"/>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noFill/>
          <a:ln w="12700" cap="flat">
            <a:solidFill>
              <a:schemeClr val="bg2"/>
            </a:solidFill>
            <a:prstDash val="solid"/>
            <a:miter/>
          </a:ln>
        </p:spPr>
        <p:txBody>
          <a:bodyPr vert="horz" wrap="square" lIns="91440" tIns="45720" rIns="91440" bIns="45720" numCol="1" anchor="t" anchorCtr="0" compatLnSpc="1">
            <a:prstTxWarp prst="textNoShape">
              <a:avLst/>
            </a:prstTxWarp>
          </a:bodyPr>
          <a:lstStyle/>
          <a:p>
            <a:endParaRPr lang="en-GB"/>
          </a:p>
        </p:txBody>
      </p:sp>
      <p:sp>
        <p:nvSpPr>
          <p:cNvPr id="33" name="Freeform 5">
            <a:extLst>
              <a:ext uri="{FF2B5EF4-FFF2-40B4-BE49-F238E27FC236}">
                <a16:creationId xmlns:a16="http://schemas.microsoft.com/office/drawing/2014/main" id="{F92E0807-C455-0743-B8C5-86D84226E6F7}"/>
              </a:ext>
            </a:extLst>
          </p:cNvPr>
          <p:cNvSpPr>
            <a:spLocks/>
          </p:cNvSpPr>
          <p:nvPr/>
        </p:nvSpPr>
        <p:spPr bwMode="auto">
          <a:xfrm rot="5400000" flipH="1">
            <a:off x="411759" y="393358"/>
            <a:ext cx="1608013" cy="1596229"/>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5">
            <a:extLst>
              <a:ext uri="{FF2B5EF4-FFF2-40B4-BE49-F238E27FC236}">
                <a16:creationId xmlns:a16="http://schemas.microsoft.com/office/drawing/2014/main" id="{8A9B772A-1FCC-5840-8809-70296571989A}"/>
              </a:ext>
            </a:extLst>
          </p:cNvPr>
          <p:cNvSpPr>
            <a:spLocks noChangeAspect="1"/>
          </p:cNvSpPr>
          <p:nvPr userDrawn="1"/>
        </p:nvSpPr>
        <p:spPr bwMode="auto">
          <a:xfrm rot="16200000" flipH="1">
            <a:off x="10176099" y="4530825"/>
            <a:ext cx="1613827" cy="1602000"/>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noFill/>
          <a:ln w="12700" cap="flat">
            <a:solidFill>
              <a:schemeClr val="bg2"/>
            </a:solidFill>
            <a:prstDash val="solid"/>
            <a:miter/>
          </a:ln>
        </p:spPr>
        <p:txBody>
          <a:bodyPr vert="horz" wrap="square" lIns="91440" tIns="45720" rIns="91440" bIns="45720" numCol="1" anchor="t" anchorCtr="0" compatLnSpc="1">
            <a:prstTxWarp prst="textNoShape">
              <a:avLst/>
            </a:prstTxWarp>
          </a:bodyPr>
          <a:lstStyle/>
          <a:p>
            <a:endParaRPr lang="en-GB"/>
          </a:p>
        </p:txBody>
      </p:sp>
      <p:sp>
        <p:nvSpPr>
          <p:cNvPr id="7" name="Freeform 5">
            <a:extLst>
              <a:ext uri="{FF2B5EF4-FFF2-40B4-BE49-F238E27FC236}">
                <a16:creationId xmlns:a16="http://schemas.microsoft.com/office/drawing/2014/main" id="{916ADB33-3EE3-BC40-B2BB-6240F9D25656}"/>
              </a:ext>
            </a:extLst>
          </p:cNvPr>
          <p:cNvSpPr>
            <a:spLocks/>
          </p:cNvSpPr>
          <p:nvPr userDrawn="1"/>
        </p:nvSpPr>
        <p:spPr bwMode="auto">
          <a:xfrm rot="5400000" flipH="1">
            <a:off x="411759" y="393358"/>
            <a:ext cx="1608013" cy="1596229"/>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837526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atement grey">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9BE75F46-D81E-5447-B33A-EACD35F4465F}"/>
              </a:ext>
            </a:extLst>
          </p:cNvPr>
          <p:cNvSpPr/>
          <p:nvPr/>
        </p:nvSpPr>
        <p:spPr>
          <a:xfrm>
            <a:off x="2754754" y="0"/>
            <a:ext cx="9437246" cy="6858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sz="1400">
              <a:solidFill>
                <a:schemeClr val="accent1"/>
              </a:solidFill>
            </a:endParaRPr>
          </a:p>
        </p:txBody>
      </p:sp>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407988" y="3561700"/>
            <a:ext cx="4401079" cy="867930"/>
          </a:xfrm>
        </p:spPr>
        <p:txBody>
          <a:bodyPr wrap="square" rIns="36000" anchor="b">
            <a:spAutoFit/>
          </a:bodyPr>
          <a:lstStyle>
            <a:lvl1pPr algn="l">
              <a:defRPr sz="2800">
                <a:solidFill>
                  <a:schemeClr val="accent1"/>
                </a:solidFill>
                <a:latin typeface="+mj-lt"/>
              </a:defRPr>
            </a:lvl1pPr>
          </a:lstStyle>
          <a:p>
            <a:r>
              <a:rPr lang="zh-CN" altLang="en-US"/>
              <a:t>单击此处编辑母版标题样式</a:t>
            </a:r>
            <a:endParaRPr lang="en-BE"/>
          </a:p>
        </p:txBody>
      </p:sp>
      <p:sp>
        <p:nvSpPr>
          <p:cNvPr id="8" name="TextBox 7">
            <a:extLst>
              <a:ext uri="{FF2B5EF4-FFF2-40B4-BE49-F238E27FC236}">
                <a16:creationId xmlns:a16="http://schemas.microsoft.com/office/drawing/2014/main" id="{6203A404-0F09-EF45-8852-06F3E2AD4882}"/>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a:solidFill>
                <a:schemeClr val="tx1"/>
              </a:solidFill>
            </a:endParaRPr>
          </a:p>
        </p:txBody>
      </p:sp>
      <p:grpSp>
        <p:nvGrpSpPr>
          <p:cNvPr id="9" name="Group 8">
            <a:extLst>
              <a:ext uri="{FF2B5EF4-FFF2-40B4-BE49-F238E27FC236}">
                <a16:creationId xmlns:a16="http://schemas.microsoft.com/office/drawing/2014/main" id="{0FC533E8-0B08-D64D-8FCE-2D0B39A69DEC}"/>
              </a:ext>
            </a:extLst>
          </p:cNvPr>
          <p:cNvGrpSpPr/>
          <p:nvPr/>
        </p:nvGrpSpPr>
        <p:grpSpPr>
          <a:xfrm>
            <a:off x="11862848" y="1678073"/>
            <a:ext cx="230832" cy="3501854"/>
            <a:chOff x="0" y="1980381"/>
            <a:chExt cx="230832" cy="3501854"/>
          </a:xfrm>
        </p:grpSpPr>
        <p:sp>
          <p:nvSpPr>
            <p:cNvPr id="10" name="TextBox 9">
              <a:extLst>
                <a:ext uri="{FF2B5EF4-FFF2-40B4-BE49-F238E27FC236}">
                  <a16:creationId xmlns:a16="http://schemas.microsoft.com/office/drawing/2014/main" id="{A3CA3DE5-6942-A749-A150-0E5FC8B1F6D8}"/>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11" name="Straight Connector 10">
              <a:extLst>
                <a:ext uri="{FF2B5EF4-FFF2-40B4-BE49-F238E27FC236}">
                  <a16:creationId xmlns:a16="http://schemas.microsoft.com/office/drawing/2014/main" id="{5BFB9D5E-1F4F-BD43-96B2-14BE29E6ACAB}"/>
                </a:ext>
              </a:extLst>
            </p:cNvPr>
            <p:cNvCxnSpPr>
              <a:cxnSpLocks/>
            </p:cNvCxnSpPr>
            <p:nvPr/>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24F16A9-2DDD-E64B-AEDC-9D691F0A36EC}"/>
                </a:ext>
              </a:extLst>
            </p:cNvPr>
            <p:cNvCxnSpPr>
              <a:cxnSpLocks/>
            </p:cNvCxnSpPr>
            <p:nvPr/>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
        <p:nvSpPr>
          <p:cNvPr id="13" name="Freeform 12">
            <a:extLst>
              <a:ext uri="{FF2B5EF4-FFF2-40B4-BE49-F238E27FC236}">
                <a16:creationId xmlns:a16="http://schemas.microsoft.com/office/drawing/2014/main" id="{7405B570-EC49-2E40-BBA3-BB0B3B4A3C3D}"/>
              </a:ext>
            </a:extLst>
          </p:cNvPr>
          <p:cNvSpPr/>
          <p:nvPr userDrawn="1"/>
        </p:nvSpPr>
        <p:spPr>
          <a:xfrm>
            <a:off x="2754754" y="0"/>
            <a:ext cx="9437246" cy="6858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sz="1400">
              <a:solidFill>
                <a:schemeClr val="accent1"/>
              </a:solidFill>
            </a:endParaRPr>
          </a:p>
        </p:txBody>
      </p:sp>
      <p:sp>
        <p:nvSpPr>
          <p:cNvPr id="14" name="TextBox 13">
            <a:extLst>
              <a:ext uri="{FF2B5EF4-FFF2-40B4-BE49-F238E27FC236}">
                <a16:creationId xmlns:a16="http://schemas.microsoft.com/office/drawing/2014/main" id="{36D093DF-9983-5846-8381-21EFC2ED42C0}"/>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a:solidFill>
                <a:schemeClr val="tx1"/>
              </a:solidFill>
            </a:endParaRPr>
          </a:p>
        </p:txBody>
      </p:sp>
      <p:grpSp>
        <p:nvGrpSpPr>
          <p:cNvPr id="15" name="Group 14">
            <a:extLst>
              <a:ext uri="{FF2B5EF4-FFF2-40B4-BE49-F238E27FC236}">
                <a16:creationId xmlns:a16="http://schemas.microsoft.com/office/drawing/2014/main" id="{704A1A51-9814-4F49-9090-80D63DD82094}"/>
              </a:ext>
            </a:extLst>
          </p:cNvPr>
          <p:cNvGrpSpPr/>
          <p:nvPr userDrawn="1"/>
        </p:nvGrpSpPr>
        <p:grpSpPr>
          <a:xfrm>
            <a:off x="11862848" y="1678073"/>
            <a:ext cx="230832" cy="3501854"/>
            <a:chOff x="0" y="1980381"/>
            <a:chExt cx="230832" cy="3501854"/>
          </a:xfrm>
        </p:grpSpPr>
        <p:sp>
          <p:nvSpPr>
            <p:cNvPr id="16" name="TextBox 15">
              <a:extLst>
                <a:ext uri="{FF2B5EF4-FFF2-40B4-BE49-F238E27FC236}">
                  <a16:creationId xmlns:a16="http://schemas.microsoft.com/office/drawing/2014/main" id="{35E9D15B-3E97-FA45-B6C2-2EAAB2887DDB}"/>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17" name="Straight Connector 16">
              <a:extLst>
                <a:ext uri="{FF2B5EF4-FFF2-40B4-BE49-F238E27FC236}">
                  <a16:creationId xmlns:a16="http://schemas.microsoft.com/office/drawing/2014/main" id="{A1D66FE1-B512-FC44-B5CE-F154EBDED2C7}"/>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0966C4C-B1F3-B24B-B96E-580B2F4F0468}"/>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28907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atement blue">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0E266A10-7698-4D46-92BA-27C0C79F17B1}"/>
              </a:ext>
            </a:extLst>
          </p:cNvPr>
          <p:cNvGrpSpPr>
            <a:grpSpLocks noChangeAspect="1"/>
          </p:cNvGrpSpPr>
          <p:nvPr/>
        </p:nvGrpSpPr>
        <p:grpSpPr bwMode="auto">
          <a:xfrm>
            <a:off x="5406017" y="0"/>
            <a:ext cx="6792334" cy="6856413"/>
            <a:chOff x="4398" y="1002"/>
            <a:chExt cx="3286" cy="3317"/>
          </a:xfrm>
        </p:grpSpPr>
        <p:sp>
          <p:nvSpPr>
            <p:cNvPr id="11" name="AutoShape 3">
              <a:extLst>
                <a:ext uri="{FF2B5EF4-FFF2-40B4-BE49-F238E27FC236}">
                  <a16:creationId xmlns:a16="http://schemas.microsoft.com/office/drawing/2014/main" id="{0BE617A9-07A3-CC4C-9365-E1631F85F9F1}"/>
                </a:ext>
              </a:extLst>
            </p:cNvPr>
            <p:cNvSpPr>
              <a:spLocks noChangeAspect="1" noChangeArrowheads="1" noTextEdit="1"/>
            </p:cNvSpPr>
            <p:nvPr/>
          </p:nvSpPr>
          <p:spPr bwMode="auto">
            <a:xfrm>
              <a:off x="4398" y="1002"/>
              <a:ext cx="3286" cy="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5">
              <a:extLst>
                <a:ext uri="{FF2B5EF4-FFF2-40B4-BE49-F238E27FC236}">
                  <a16:creationId xmlns:a16="http://schemas.microsoft.com/office/drawing/2014/main" id="{38728E5D-8F91-E54F-A979-AD7FAF48DD54}"/>
                </a:ext>
              </a:extLst>
            </p:cNvPr>
            <p:cNvSpPr>
              <a:spLocks/>
            </p:cNvSpPr>
            <p:nvPr/>
          </p:nvSpPr>
          <p:spPr bwMode="auto">
            <a:xfrm>
              <a:off x="4397" y="1002"/>
              <a:ext cx="3286" cy="3318"/>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407988" y="3188935"/>
            <a:ext cx="8110369" cy="480131"/>
          </a:xfrm>
        </p:spPr>
        <p:txBody>
          <a:bodyPr wrap="square" rIns="36000" anchor="ctr">
            <a:spAutoFit/>
          </a:bodyPr>
          <a:lstStyle>
            <a:lvl1pPr algn="l">
              <a:defRPr sz="2800">
                <a:solidFill>
                  <a:schemeClr val="accent1"/>
                </a:solidFill>
                <a:latin typeface="+mj-lt"/>
              </a:defRPr>
            </a:lvl1pPr>
          </a:lstStyle>
          <a:p>
            <a:r>
              <a:rPr lang="zh-CN" altLang="en-US"/>
              <a:t>单击此处编辑母版标题样式</a:t>
            </a:r>
            <a:endParaRPr lang="en-BE"/>
          </a:p>
        </p:txBody>
      </p:sp>
      <p:sp>
        <p:nvSpPr>
          <p:cNvPr id="4" name="TextBox 3">
            <a:extLst>
              <a:ext uri="{FF2B5EF4-FFF2-40B4-BE49-F238E27FC236}">
                <a16:creationId xmlns:a16="http://schemas.microsoft.com/office/drawing/2014/main" id="{85F6C02A-E300-8E44-8EC3-A6F88D9E23D8}"/>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bg1"/>
                </a:solidFill>
              </a:rPr>
              <a:pPr lvl="0" algn="ctr"/>
              <a:t>‹#›</a:t>
            </a:fld>
            <a:endParaRPr lang="en-US" sz="800">
              <a:solidFill>
                <a:schemeClr val="bg1"/>
              </a:solidFill>
            </a:endParaRPr>
          </a:p>
        </p:txBody>
      </p:sp>
      <p:grpSp>
        <p:nvGrpSpPr>
          <p:cNvPr id="5" name="Group 4">
            <a:extLst>
              <a:ext uri="{FF2B5EF4-FFF2-40B4-BE49-F238E27FC236}">
                <a16:creationId xmlns:a16="http://schemas.microsoft.com/office/drawing/2014/main" id="{A80B588B-769A-964C-B04A-A0A39F4A1B54}"/>
              </a:ext>
            </a:extLst>
          </p:cNvPr>
          <p:cNvGrpSpPr/>
          <p:nvPr/>
        </p:nvGrpSpPr>
        <p:grpSpPr>
          <a:xfrm>
            <a:off x="11862848" y="1678073"/>
            <a:ext cx="230832" cy="3501854"/>
            <a:chOff x="0" y="1980381"/>
            <a:chExt cx="230832" cy="3501854"/>
          </a:xfrm>
        </p:grpSpPr>
        <p:sp>
          <p:nvSpPr>
            <p:cNvPr id="6" name="TextBox 5">
              <a:extLst>
                <a:ext uri="{FF2B5EF4-FFF2-40B4-BE49-F238E27FC236}">
                  <a16:creationId xmlns:a16="http://schemas.microsoft.com/office/drawing/2014/main" id="{764AEB60-2887-4E4F-BABA-6F7DA040CBD2}"/>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a:solidFill>
                    <a:schemeClr val="bg1"/>
                  </a:solidFill>
                </a:rPr>
                <a:t>Proprietary and Confidential Property of UCB</a:t>
              </a:r>
              <a:endParaRPr lang="en-BE" sz="900">
                <a:solidFill>
                  <a:schemeClr val="bg1"/>
                </a:solidFill>
              </a:endParaRPr>
            </a:p>
          </p:txBody>
        </p:sp>
        <p:cxnSp>
          <p:nvCxnSpPr>
            <p:cNvPr id="8" name="Straight Connector 7">
              <a:extLst>
                <a:ext uri="{FF2B5EF4-FFF2-40B4-BE49-F238E27FC236}">
                  <a16:creationId xmlns:a16="http://schemas.microsoft.com/office/drawing/2014/main" id="{EE612709-CECD-664B-BF5B-67A0B0C29783}"/>
                </a:ext>
              </a:extLst>
            </p:cNvPr>
            <p:cNvCxnSpPr>
              <a:cxnSpLocks/>
            </p:cNvCxnSpPr>
            <p:nvPr/>
          </p:nvCxnSpPr>
          <p:spPr>
            <a:xfrm>
              <a:off x="115416" y="1980381"/>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2285A0B-2510-8548-8DA1-BF2F0AAAE870}"/>
                </a:ext>
              </a:extLst>
            </p:cNvPr>
            <p:cNvCxnSpPr>
              <a:cxnSpLocks/>
            </p:cNvCxnSpPr>
            <p:nvPr/>
          </p:nvCxnSpPr>
          <p:spPr>
            <a:xfrm>
              <a:off x="115416" y="5008716"/>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 name="Group 4">
            <a:extLst>
              <a:ext uri="{FF2B5EF4-FFF2-40B4-BE49-F238E27FC236}">
                <a16:creationId xmlns:a16="http://schemas.microsoft.com/office/drawing/2014/main" id="{802F1EE5-42E6-5746-B0CD-42F46A5A0611}"/>
              </a:ext>
            </a:extLst>
          </p:cNvPr>
          <p:cNvGrpSpPr>
            <a:grpSpLocks noChangeAspect="1"/>
          </p:cNvGrpSpPr>
          <p:nvPr userDrawn="1"/>
        </p:nvGrpSpPr>
        <p:grpSpPr bwMode="auto">
          <a:xfrm>
            <a:off x="5406017" y="0"/>
            <a:ext cx="6792334" cy="6856413"/>
            <a:chOff x="4398" y="1002"/>
            <a:chExt cx="3286" cy="3317"/>
          </a:xfrm>
        </p:grpSpPr>
        <p:sp>
          <p:nvSpPr>
            <p:cNvPr id="14" name="AutoShape 3">
              <a:extLst>
                <a:ext uri="{FF2B5EF4-FFF2-40B4-BE49-F238E27FC236}">
                  <a16:creationId xmlns:a16="http://schemas.microsoft.com/office/drawing/2014/main" id="{8B80C5A6-2526-5249-97C0-C743314F8488}"/>
                </a:ext>
              </a:extLst>
            </p:cNvPr>
            <p:cNvSpPr>
              <a:spLocks noChangeAspect="1" noChangeArrowheads="1" noTextEdit="1"/>
            </p:cNvSpPr>
            <p:nvPr userDrawn="1"/>
          </p:nvSpPr>
          <p:spPr bwMode="auto">
            <a:xfrm>
              <a:off x="4398" y="1002"/>
              <a:ext cx="3286" cy="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5">
              <a:extLst>
                <a:ext uri="{FF2B5EF4-FFF2-40B4-BE49-F238E27FC236}">
                  <a16:creationId xmlns:a16="http://schemas.microsoft.com/office/drawing/2014/main" id="{0DFC4E2F-F685-F34F-97B1-6ABAA001EAE8}"/>
                </a:ext>
              </a:extLst>
            </p:cNvPr>
            <p:cNvSpPr>
              <a:spLocks/>
            </p:cNvSpPr>
            <p:nvPr userDrawn="1"/>
          </p:nvSpPr>
          <p:spPr bwMode="auto">
            <a:xfrm>
              <a:off x="4397" y="1002"/>
              <a:ext cx="3286" cy="3318"/>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 name="TextBox 15">
            <a:extLst>
              <a:ext uri="{FF2B5EF4-FFF2-40B4-BE49-F238E27FC236}">
                <a16:creationId xmlns:a16="http://schemas.microsoft.com/office/drawing/2014/main" id="{5879C9E3-8642-7E41-B078-9D6810971079}"/>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bg1"/>
                </a:solidFill>
              </a:rPr>
              <a:pPr lvl="0" algn="ctr"/>
              <a:t>‹#›</a:t>
            </a:fld>
            <a:endParaRPr lang="en-US" sz="800">
              <a:solidFill>
                <a:schemeClr val="bg1"/>
              </a:solidFill>
            </a:endParaRPr>
          </a:p>
        </p:txBody>
      </p:sp>
      <p:grpSp>
        <p:nvGrpSpPr>
          <p:cNvPr id="17" name="Group 16">
            <a:extLst>
              <a:ext uri="{FF2B5EF4-FFF2-40B4-BE49-F238E27FC236}">
                <a16:creationId xmlns:a16="http://schemas.microsoft.com/office/drawing/2014/main" id="{94D28F05-7DD6-5641-A261-DA047E7E96FC}"/>
              </a:ext>
            </a:extLst>
          </p:cNvPr>
          <p:cNvGrpSpPr/>
          <p:nvPr userDrawn="1"/>
        </p:nvGrpSpPr>
        <p:grpSpPr>
          <a:xfrm>
            <a:off x="11862848" y="1678073"/>
            <a:ext cx="230832" cy="3501854"/>
            <a:chOff x="0" y="1980381"/>
            <a:chExt cx="230832" cy="3501854"/>
          </a:xfrm>
        </p:grpSpPr>
        <p:sp>
          <p:nvSpPr>
            <p:cNvPr id="18" name="TextBox 17">
              <a:extLst>
                <a:ext uri="{FF2B5EF4-FFF2-40B4-BE49-F238E27FC236}">
                  <a16:creationId xmlns:a16="http://schemas.microsoft.com/office/drawing/2014/main" id="{CF17DD44-1000-FB4A-8A5B-548BF0709366}"/>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bg1"/>
                  </a:solidFill>
                </a:rPr>
                <a:t>Proprietary and Confidential Property of UCB</a:t>
              </a:r>
              <a:endParaRPr lang="en-BE" sz="900">
                <a:solidFill>
                  <a:schemeClr val="bg1"/>
                </a:solidFill>
              </a:endParaRPr>
            </a:p>
          </p:txBody>
        </p:sp>
        <p:cxnSp>
          <p:nvCxnSpPr>
            <p:cNvPr id="19" name="Straight Connector 18">
              <a:extLst>
                <a:ext uri="{FF2B5EF4-FFF2-40B4-BE49-F238E27FC236}">
                  <a16:creationId xmlns:a16="http://schemas.microsoft.com/office/drawing/2014/main" id="{579DE366-DE1A-3D4A-9169-7A39E1393D4B}"/>
                </a:ext>
              </a:extLst>
            </p:cNvPr>
            <p:cNvCxnSpPr>
              <a:cxnSpLocks/>
            </p:cNvCxnSpPr>
            <p:nvPr userDrawn="1"/>
          </p:nvCxnSpPr>
          <p:spPr>
            <a:xfrm>
              <a:off x="115416" y="1980381"/>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298EF5-07A8-0246-9E7D-DBA68C87E479}"/>
                </a:ext>
              </a:extLst>
            </p:cNvPr>
            <p:cNvCxnSpPr>
              <a:cxnSpLocks/>
            </p:cNvCxnSpPr>
            <p:nvPr userDrawn="1"/>
          </p:nvCxnSpPr>
          <p:spPr>
            <a:xfrm>
              <a:off x="115416" y="5008716"/>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33972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End slide w image">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407988" y="4058657"/>
            <a:ext cx="4401079" cy="867930"/>
          </a:xfrm>
        </p:spPr>
        <p:txBody>
          <a:bodyPr wrap="square" rIns="36000" anchor="b">
            <a:spAutoFit/>
          </a:bodyPr>
          <a:lstStyle>
            <a:lvl1pPr algn="l">
              <a:defRPr sz="2800">
                <a:solidFill>
                  <a:schemeClr val="accent1"/>
                </a:solidFill>
                <a:latin typeface="+mj-lt"/>
              </a:defRPr>
            </a:lvl1pPr>
          </a:lstStyle>
          <a:p>
            <a:r>
              <a:rPr lang="zh-CN" altLang="en-US"/>
              <a:t>单击此处编辑母版标题样式</a:t>
            </a:r>
            <a:endParaRPr lang="en-BE"/>
          </a:p>
        </p:txBody>
      </p:sp>
      <p:sp>
        <p:nvSpPr>
          <p:cNvPr id="59" name="Subtitle 2">
            <a:extLst>
              <a:ext uri="{FF2B5EF4-FFF2-40B4-BE49-F238E27FC236}">
                <a16:creationId xmlns:a16="http://schemas.microsoft.com/office/drawing/2014/main" id="{2182F8AD-1FB7-254D-B9E0-A4E8BB5B9E59}"/>
              </a:ext>
            </a:extLst>
          </p:cNvPr>
          <p:cNvSpPr>
            <a:spLocks noGrp="1"/>
          </p:cNvSpPr>
          <p:nvPr>
            <p:ph type="subTitle" idx="1"/>
          </p:nvPr>
        </p:nvSpPr>
        <p:spPr>
          <a:xfrm>
            <a:off x="407988" y="5018662"/>
            <a:ext cx="4401079" cy="338554"/>
          </a:xfrm>
        </p:spPr>
        <p:txBody>
          <a:bodyPr wrap="square" rIns="36000">
            <a:spAutoFit/>
          </a:bodyPr>
          <a:lstStyle>
            <a:lvl1pPr marL="0" indent="0" algn="l">
              <a:lnSpc>
                <a:spcPct val="100000"/>
              </a:lnSpc>
              <a:spcBef>
                <a:spcPts val="0"/>
              </a:spcBef>
              <a:buNone/>
              <a:defRPr sz="160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BE"/>
          </a:p>
        </p:txBody>
      </p:sp>
      <p:sp>
        <p:nvSpPr>
          <p:cNvPr id="14" name="Picture Placeholder 13">
            <a:extLst>
              <a:ext uri="{FF2B5EF4-FFF2-40B4-BE49-F238E27FC236}">
                <a16:creationId xmlns:a16="http://schemas.microsoft.com/office/drawing/2014/main" id="{6AE4611C-9F5D-A942-8DF3-4440110899E0}"/>
              </a:ext>
            </a:extLst>
          </p:cNvPr>
          <p:cNvSpPr>
            <a:spLocks noGrp="1"/>
          </p:cNvSpPr>
          <p:nvPr>
            <p:ph type="pic" sz="quarter" idx="10"/>
          </p:nvPr>
        </p:nvSpPr>
        <p:spPr>
          <a:xfrm>
            <a:off x="2754754" y="0"/>
            <a:ext cx="9437246" cy="6858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p:spPr>
        <p:txBody>
          <a:bodyPr wrap="square" rIns="180000" anchor="ctr">
            <a:noAutofit/>
          </a:bodyPr>
          <a:lstStyle>
            <a:lvl1pPr algn="r">
              <a:defRPr>
                <a:solidFill>
                  <a:schemeClr val="accent1"/>
                </a:solidFill>
              </a:defRPr>
            </a:lvl1pPr>
          </a:lstStyle>
          <a:p>
            <a:r>
              <a:rPr lang="zh-CN" altLang="en-US"/>
              <a:t>单击图标添加图片</a:t>
            </a:r>
            <a:endParaRPr lang="en-BE"/>
          </a:p>
        </p:txBody>
      </p:sp>
      <p:grpSp>
        <p:nvGrpSpPr>
          <p:cNvPr id="5" name="Group 4">
            <a:extLst>
              <a:ext uri="{FF2B5EF4-FFF2-40B4-BE49-F238E27FC236}">
                <a16:creationId xmlns:a16="http://schemas.microsoft.com/office/drawing/2014/main" id="{0AC7B90F-A1C3-0C45-8761-4AC75DE2D92E}"/>
              </a:ext>
            </a:extLst>
          </p:cNvPr>
          <p:cNvGrpSpPr/>
          <p:nvPr userDrawn="1"/>
        </p:nvGrpSpPr>
        <p:grpSpPr>
          <a:xfrm rot="5400000">
            <a:off x="5980584" y="4768552"/>
            <a:ext cx="230832" cy="3501854"/>
            <a:chOff x="0" y="1980381"/>
            <a:chExt cx="230832" cy="3501854"/>
          </a:xfrm>
        </p:grpSpPr>
        <p:sp>
          <p:nvSpPr>
            <p:cNvPr id="6" name="TextBox 5">
              <a:extLst>
                <a:ext uri="{FF2B5EF4-FFF2-40B4-BE49-F238E27FC236}">
                  <a16:creationId xmlns:a16="http://schemas.microsoft.com/office/drawing/2014/main" id="{22ABC181-BB9B-8443-AFB9-3CEAF9B2A04E}"/>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7" name="Straight Connector 6">
              <a:extLst>
                <a:ext uri="{FF2B5EF4-FFF2-40B4-BE49-F238E27FC236}">
                  <a16:creationId xmlns:a16="http://schemas.microsoft.com/office/drawing/2014/main" id="{F6005F7B-9433-394D-8C2A-9AE3DB8C4A3C}"/>
                </a:ext>
              </a:extLst>
            </p:cNvPr>
            <p:cNvCxnSpPr>
              <a:cxnSpLocks/>
            </p:cNvCxnSpPr>
            <p:nvPr/>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9B9F0A8-3F16-874D-ACFB-DF31876D8D97}"/>
                </a:ext>
              </a:extLst>
            </p:cNvPr>
            <p:cNvCxnSpPr>
              <a:cxnSpLocks/>
            </p:cNvCxnSpPr>
            <p:nvPr/>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273BA04-2628-DF4D-925E-D3A419BC9379}"/>
              </a:ext>
            </a:extLst>
          </p:cNvPr>
          <p:cNvGrpSpPr/>
          <p:nvPr userDrawn="1"/>
        </p:nvGrpSpPr>
        <p:grpSpPr>
          <a:xfrm rot="5400000">
            <a:off x="5980584" y="4768552"/>
            <a:ext cx="230832" cy="3501854"/>
            <a:chOff x="0" y="1980381"/>
            <a:chExt cx="230832" cy="3501854"/>
          </a:xfrm>
        </p:grpSpPr>
        <p:sp>
          <p:nvSpPr>
            <p:cNvPr id="10" name="TextBox 9">
              <a:extLst>
                <a:ext uri="{FF2B5EF4-FFF2-40B4-BE49-F238E27FC236}">
                  <a16:creationId xmlns:a16="http://schemas.microsoft.com/office/drawing/2014/main" id="{6C8F8A42-3A50-064F-B98A-A1873E2098B4}"/>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11" name="Straight Connector 10">
              <a:extLst>
                <a:ext uri="{FF2B5EF4-FFF2-40B4-BE49-F238E27FC236}">
                  <a16:creationId xmlns:a16="http://schemas.microsoft.com/office/drawing/2014/main" id="{63CFF3F5-2232-9A41-BBA6-953E941A00F6}"/>
                </a:ext>
              </a:extLst>
            </p:cNvPr>
            <p:cNvCxnSpPr>
              <a:cxnSpLocks/>
            </p:cNvCxnSpPr>
            <p:nvPr userDrawn="1"/>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303C5E9-A81C-9441-8561-447FAE9A9500}"/>
                </a:ext>
              </a:extLst>
            </p:cNvPr>
            <p:cNvCxnSpPr>
              <a:cxnSpLocks/>
            </p:cNvCxnSpPr>
            <p:nvPr userDrawn="1"/>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0981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End slide logo">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1395230" y="4370048"/>
            <a:ext cx="9401540" cy="480131"/>
          </a:xfrm>
        </p:spPr>
        <p:txBody>
          <a:bodyPr wrap="square" rIns="36000" anchor="b">
            <a:normAutofit/>
          </a:bodyPr>
          <a:lstStyle>
            <a:lvl1pPr algn="ctr">
              <a:defRPr sz="2800">
                <a:solidFill>
                  <a:schemeClr val="accent1"/>
                </a:solidFill>
                <a:latin typeface="+mj-lt"/>
              </a:defRPr>
            </a:lvl1pPr>
          </a:lstStyle>
          <a:p>
            <a:r>
              <a:rPr lang="zh-CN" altLang="en-US"/>
              <a:t>单击此处编辑母版标题样式</a:t>
            </a:r>
            <a:endParaRPr lang="en-BE"/>
          </a:p>
        </p:txBody>
      </p:sp>
      <p:sp>
        <p:nvSpPr>
          <p:cNvPr id="59" name="Subtitle 2">
            <a:extLst>
              <a:ext uri="{FF2B5EF4-FFF2-40B4-BE49-F238E27FC236}">
                <a16:creationId xmlns:a16="http://schemas.microsoft.com/office/drawing/2014/main" id="{2182F8AD-1FB7-254D-B9E0-A4E8BB5B9E59}"/>
              </a:ext>
            </a:extLst>
          </p:cNvPr>
          <p:cNvSpPr>
            <a:spLocks noGrp="1"/>
          </p:cNvSpPr>
          <p:nvPr>
            <p:ph type="subTitle" idx="1"/>
          </p:nvPr>
        </p:nvSpPr>
        <p:spPr>
          <a:xfrm>
            <a:off x="1395230" y="4942254"/>
            <a:ext cx="9401540" cy="338554"/>
          </a:xfrm>
        </p:spPr>
        <p:txBody>
          <a:bodyPr wrap="square" rIns="36000" anchor="t">
            <a:spAutoFit/>
          </a:bodyPr>
          <a:lstStyle>
            <a:lvl1pPr marL="0" indent="0" algn="ctr">
              <a:lnSpc>
                <a:spcPct val="100000"/>
              </a:lnSpc>
              <a:spcBef>
                <a:spcPts val="0"/>
              </a:spcBef>
              <a:buNone/>
              <a:defRPr sz="160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BE"/>
          </a:p>
        </p:txBody>
      </p:sp>
      <p:grpSp>
        <p:nvGrpSpPr>
          <p:cNvPr id="53" name="Group 52">
            <a:extLst>
              <a:ext uri="{FF2B5EF4-FFF2-40B4-BE49-F238E27FC236}">
                <a16:creationId xmlns:a16="http://schemas.microsoft.com/office/drawing/2014/main" id="{2551F790-BC07-EE40-85F4-EFC68DCF6426}"/>
              </a:ext>
            </a:extLst>
          </p:cNvPr>
          <p:cNvGrpSpPr/>
          <p:nvPr/>
        </p:nvGrpSpPr>
        <p:grpSpPr>
          <a:xfrm rot="5400000">
            <a:off x="5980584" y="4768552"/>
            <a:ext cx="230832" cy="3501854"/>
            <a:chOff x="0" y="1980381"/>
            <a:chExt cx="230832" cy="3501854"/>
          </a:xfrm>
        </p:grpSpPr>
        <p:sp>
          <p:nvSpPr>
            <p:cNvPr id="54" name="TextBox 53">
              <a:extLst>
                <a:ext uri="{FF2B5EF4-FFF2-40B4-BE49-F238E27FC236}">
                  <a16:creationId xmlns:a16="http://schemas.microsoft.com/office/drawing/2014/main" id="{5C170B76-1B60-8A47-8BF2-13B1F51C9FBB}"/>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55" name="Straight Connector 54">
              <a:extLst>
                <a:ext uri="{FF2B5EF4-FFF2-40B4-BE49-F238E27FC236}">
                  <a16:creationId xmlns:a16="http://schemas.microsoft.com/office/drawing/2014/main" id="{000FD983-1E0D-674B-B17D-0D7B767052EA}"/>
                </a:ext>
              </a:extLst>
            </p:cNvPr>
            <p:cNvCxnSpPr>
              <a:cxnSpLocks/>
            </p:cNvCxnSpPr>
            <p:nvPr/>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43A570F-F968-D440-962C-BE1ABFFB5395}"/>
                </a:ext>
              </a:extLst>
            </p:cNvPr>
            <p:cNvCxnSpPr>
              <a:cxnSpLocks/>
            </p:cNvCxnSpPr>
            <p:nvPr/>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280C577B-C23B-4044-9AF1-0EC1B899CAA0}"/>
              </a:ext>
            </a:extLst>
          </p:cNvPr>
          <p:cNvGrpSpPr/>
          <p:nvPr userDrawn="1"/>
        </p:nvGrpSpPr>
        <p:grpSpPr>
          <a:xfrm rot="5400000">
            <a:off x="5980584" y="4768552"/>
            <a:ext cx="230832" cy="3501854"/>
            <a:chOff x="0" y="1980381"/>
            <a:chExt cx="230832" cy="3501854"/>
          </a:xfrm>
        </p:grpSpPr>
        <p:sp>
          <p:nvSpPr>
            <p:cNvPr id="103" name="TextBox 102">
              <a:extLst>
                <a:ext uri="{FF2B5EF4-FFF2-40B4-BE49-F238E27FC236}">
                  <a16:creationId xmlns:a16="http://schemas.microsoft.com/office/drawing/2014/main" id="{FD82AFBA-CE0D-8C43-A515-0029F8453B96}"/>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104" name="Straight Connector 103">
              <a:extLst>
                <a:ext uri="{FF2B5EF4-FFF2-40B4-BE49-F238E27FC236}">
                  <a16:creationId xmlns:a16="http://schemas.microsoft.com/office/drawing/2014/main" id="{643DD8CF-C116-E147-AC11-19A2AE974BE9}"/>
                </a:ext>
              </a:extLst>
            </p:cNvPr>
            <p:cNvCxnSpPr>
              <a:cxnSpLocks/>
            </p:cNvCxnSpPr>
            <p:nvPr userDrawn="1"/>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3304225-C86A-D543-9594-11E50E87A943}"/>
                </a:ext>
              </a:extLst>
            </p:cNvPr>
            <p:cNvCxnSpPr>
              <a:cxnSpLocks/>
            </p:cNvCxnSpPr>
            <p:nvPr userDrawn="1"/>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6" name="Graphic 105">
            <a:extLst>
              <a:ext uri="{FF2B5EF4-FFF2-40B4-BE49-F238E27FC236}">
                <a16:creationId xmlns:a16="http://schemas.microsoft.com/office/drawing/2014/main" id="{0741A49E-26E7-0344-ABB9-6BCB6B3ED9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95230" y="1043297"/>
            <a:ext cx="9401540" cy="3033678"/>
          </a:xfrm>
          <a:prstGeom prst="rect">
            <a:avLst/>
          </a:prstGeom>
        </p:spPr>
      </p:pic>
    </p:spTree>
    <p:extLst>
      <p:ext uri="{BB962C8B-B14F-4D97-AF65-F5344CB8AC3E}">
        <p14:creationId xmlns:p14="http://schemas.microsoft.com/office/powerpoint/2010/main" val="3165793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ulle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nchor="t">
            <a:spAutoFit/>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11339946"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Tree>
    <p:extLst>
      <p:ext uri="{BB962C8B-B14F-4D97-AF65-F5344CB8AC3E}">
        <p14:creationId xmlns:p14="http://schemas.microsoft.com/office/powerpoint/2010/main" val="143888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ver slide 1">
    <p:spTree>
      <p:nvGrpSpPr>
        <p:cNvPr id="1" name=""/>
        <p:cNvGrpSpPr/>
        <p:nvPr/>
      </p:nvGrpSpPr>
      <p:grpSpPr>
        <a:xfrm>
          <a:off x="0" y="0"/>
          <a:ext cx="0" cy="0"/>
          <a:chOff x="0" y="0"/>
          <a:chExt cx="0" cy="0"/>
        </a:xfrm>
      </p:grpSpPr>
      <p:sp>
        <p:nvSpPr>
          <p:cNvPr id="65" name="Picture Placeholder 64">
            <a:extLst>
              <a:ext uri="{FF2B5EF4-FFF2-40B4-BE49-F238E27FC236}">
                <a16:creationId xmlns:a16="http://schemas.microsoft.com/office/drawing/2014/main" id="{B8D670EA-1E47-EE44-9859-BF14C627EA3B}"/>
              </a:ext>
            </a:extLst>
          </p:cNvPr>
          <p:cNvSpPr>
            <a:spLocks noGrp="1"/>
          </p:cNvSpPr>
          <p:nvPr>
            <p:ph type="pic" sz="quarter" idx="10"/>
          </p:nvPr>
        </p:nvSpPr>
        <p:spPr>
          <a:xfrm>
            <a:off x="8" y="4"/>
            <a:ext cx="12191993" cy="6857996"/>
          </a:xfrm>
          <a:custGeom>
            <a:avLst/>
            <a:gdLst>
              <a:gd name="connsiteX0" fmla="*/ 3578903 w 12191993"/>
              <a:gd name="connsiteY0" fmla="*/ 6416506 h 6857996"/>
              <a:gd name="connsiteX1" fmla="*/ 3578903 w 12191993"/>
              <a:gd name="connsiteY1" fmla="*/ 6449909 h 6857996"/>
              <a:gd name="connsiteX2" fmla="*/ 3611987 w 12191993"/>
              <a:gd name="connsiteY2" fmla="*/ 6449909 h 6857996"/>
              <a:gd name="connsiteX3" fmla="*/ 3611987 w 12191993"/>
              <a:gd name="connsiteY3" fmla="*/ 6416506 h 6857996"/>
              <a:gd name="connsiteX4" fmla="*/ 3481994 w 12191993"/>
              <a:gd name="connsiteY4" fmla="*/ 6306894 h 6857996"/>
              <a:gd name="connsiteX5" fmla="*/ 3521564 w 12191993"/>
              <a:gd name="connsiteY5" fmla="*/ 6348729 h 6857996"/>
              <a:gd name="connsiteX6" fmla="*/ 3433990 w 12191993"/>
              <a:gd name="connsiteY6" fmla="*/ 6348729 h 6857996"/>
              <a:gd name="connsiteX7" fmla="*/ 3481994 w 12191993"/>
              <a:gd name="connsiteY7" fmla="*/ 6306894 h 6857996"/>
              <a:gd name="connsiteX8" fmla="*/ 2971631 w 12191993"/>
              <a:gd name="connsiteY8" fmla="*/ 6306894 h 6857996"/>
              <a:gd name="connsiteX9" fmla="*/ 3011201 w 12191993"/>
              <a:gd name="connsiteY9" fmla="*/ 6348729 h 6857996"/>
              <a:gd name="connsiteX10" fmla="*/ 2923627 w 12191993"/>
              <a:gd name="connsiteY10" fmla="*/ 6348729 h 6857996"/>
              <a:gd name="connsiteX11" fmla="*/ 2971631 w 12191993"/>
              <a:gd name="connsiteY11" fmla="*/ 6306894 h 6857996"/>
              <a:gd name="connsiteX12" fmla="*/ 2218851 w 12191993"/>
              <a:gd name="connsiteY12" fmla="*/ 6297163 h 6857996"/>
              <a:gd name="connsiteX13" fmla="*/ 2275288 w 12191993"/>
              <a:gd name="connsiteY13" fmla="*/ 6368835 h 6857996"/>
              <a:gd name="connsiteX14" fmla="*/ 2217552 w 12191993"/>
              <a:gd name="connsiteY14" fmla="*/ 6440507 h 6857996"/>
              <a:gd name="connsiteX15" fmla="*/ 2161116 w 12191993"/>
              <a:gd name="connsiteY15" fmla="*/ 6369160 h 6857996"/>
              <a:gd name="connsiteX16" fmla="*/ 2218851 w 12191993"/>
              <a:gd name="connsiteY16" fmla="*/ 6297163 h 6857996"/>
              <a:gd name="connsiteX17" fmla="*/ 1782667 w 12191993"/>
              <a:gd name="connsiteY17" fmla="*/ 6296514 h 6857996"/>
              <a:gd name="connsiteX18" fmla="*/ 1834887 w 12191993"/>
              <a:gd name="connsiteY18" fmla="*/ 6353915 h 6857996"/>
              <a:gd name="connsiteX19" fmla="*/ 1719416 w 12191993"/>
              <a:gd name="connsiteY19" fmla="*/ 6353915 h 6857996"/>
              <a:gd name="connsiteX20" fmla="*/ 1782667 w 12191993"/>
              <a:gd name="connsiteY20" fmla="*/ 6296514 h 6857996"/>
              <a:gd name="connsiteX21" fmla="*/ 2293320 w 12191993"/>
              <a:gd name="connsiteY21" fmla="*/ 6287757 h 6857996"/>
              <a:gd name="connsiteX22" fmla="*/ 2360462 w 12191993"/>
              <a:gd name="connsiteY22" fmla="*/ 6448936 h 6857996"/>
              <a:gd name="connsiteX23" fmla="*/ 2348783 w 12191993"/>
              <a:gd name="connsiteY23" fmla="*/ 6475855 h 6857996"/>
              <a:gd name="connsiteX24" fmla="*/ 2316996 w 12191993"/>
              <a:gd name="connsiteY24" fmla="*/ 6505042 h 6857996"/>
              <a:gd name="connsiteX25" fmla="*/ 2296883 w 12191993"/>
              <a:gd name="connsiteY25" fmla="*/ 6497259 h 6857996"/>
              <a:gd name="connsiteX26" fmla="*/ 2290722 w 12191993"/>
              <a:gd name="connsiteY26" fmla="*/ 6508934 h 6857996"/>
              <a:gd name="connsiteX27" fmla="*/ 2316996 w 12191993"/>
              <a:gd name="connsiteY27" fmla="*/ 6518015 h 6857996"/>
              <a:gd name="connsiteX28" fmla="*/ 2358190 w 12191993"/>
              <a:gd name="connsiteY28" fmla="*/ 6487853 h 6857996"/>
              <a:gd name="connsiteX29" fmla="*/ 2441550 w 12191993"/>
              <a:gd name="connsiteY29" fmla="*/ 6287757 h 6857996"/>
              <a:gd name="connsiteX30" fmla="*/ 2426956 w 12191993"/>
              <a:gd name="connsiteY30" fmla="*/ 6287757 h 6857996"/>
              <a:gd name="connsiteX31" fmla="*/ 2373434 w 12191993"/>
              <a:gd name="connsiteY31" fmla="*/ 6417155 h 6857996"/>
              <a:gd name="connsiteX32" fmla="*/ 2367922 w 12191993"/>
              <a:gd name="connsiteY32" fmla="*/ 6432396 h 6857996"/>
              <a:gd name="connsiteX33" fmla="*/ 2367272 w 12191993"/>
              <a:gd name="connsiteY33" fmla="*/ 6432396 h 6857996"/>
              <a:gd name="connsiteX34" fmla="*/ 2361429 w 12191993"/>
              <a:gd name="connsiteY34" fmla="*/ 6417155 h 6857996"/>
              <a:gd name="connsiteX35" fmla="*/ 2307914 w 12191993"/>
              <a:gd name="connsiteY35" fmla="*/ 6287757 h 6857996"/>
              <a:gd name="connsiteX36" fmla="*/ 1560161 w 12191993"/>
              <a:gd name="connsiteY36" fmla="*/ 6287757 h 6857996"/>
              <a:gd name="connsiteX37" fmla="*/ 1624058 w 12191993"/>
              <a:gd name="connsiteY37" fmla="*/ 6449909 h 6857996"/>
              <a:gd name="connsiteX38" fmla="*/ 1637032 w 12191993"/>
              <a:gd name="connsiteY38" fmla="*/ 6449909 h 6857996"/>
              <a:gd name="connsiteX39" fmla="*/ 1700608 w 12191993"/>
              <a:gd name="connsiteY39" fmla="*/ 6287757 h 6857996"/>
              <a:gd name="connsiteX40" fmla="*/ 1686334 w 12191993"/>
              <a:gd name="connsiteY40" fmla="*/ 6287757 h 6857996"/>
              <a:gd name="connsiteX41" fmla="*/ 1636383 w 12191993"/>
              <a:gd name="connsiteY41" fmla="*/ 6414887 h 6857996"/>
              <a:gd name="connsiteX42" fmla="*/ 1630868 w 12191993"/>
              <a:gd name="connsiteY42" fmla="*/ 6432396 h 6857996"/>
              <a:gd name="connsiteX43" fmla="*/ 1630218 w 12191993"/>
              <a:gd name="connsiteY43" fmla="*/ 6432396 h 6857996"/>
              <a:gd name="connsiteX44" fmla="*/ 1624707 w 12191993"/>
              <a:gd name="connsiteY44" fmla="*/ 6414887 h 6857996"/>
              <a:gd name="connsiteX45" fmla="*/ 1574755 w 12191993"/>
              <a:gd name="connsiteY45" fmla="*/ 6287757 h 6857996"/>
              <a:gd name="connsiteX46" fmla="*/ 1526463 w 12191993"/>
              <a:gd name="connsiteY46" fmla="*/ 6287757 h 6857996"/>
              <a:gd name="connsiteX47" fmla="*/ 1526463 w 12191993"/>
              <a:gd name="connsiteY47" fmla="*/ 6449909 h 6857996"/>
              <a:gd name="connsiteX48" fmla="*/ 1540087 w 12191993"/>
              <a:gd name="connsiteY48" fmla="*/ 6449909 h 6857996"/>
              <a:gd name="connsiteX49" fmla="*/ 1540087 w 12191993"/>
              <a:gd name="connsiteY49" fmla="*/ 6287757 h 6857996"/>
              <a:gd name="connsiteX50" fmla="*/ 1496207 w 12191993"/>
              <a:gd name="connsiteY50" fmla="*/ 6286463 h 6857996"/>
              <a:gd name="connsiteX51" fmla="*/ 1444311 w 12191993"/>
              <a:gd name="connsiteY51" fmla="*/ 6331866 h 6857996"/>
              <a:gd name="connsiteX52" fmla="*/ 1443661 w 12191993"/>
              <a:gd name="connsiteY52" fmla="*/ 6331866 h 6857996"/>
              <a:gd name="connsiteX53" fmla="*/ 1444960 w 12191993"/>
              <a:gd name="connsiteY53" fmla="*/ 6318568 h 6857996"/>
              <a:gd name="connsiteX54" fmla="*/ 1444960 w 12191993"/>
              <a:gd name="connsiteY54" fmla="*/ 6287757 h 6857996"/>
              <a:gd name="connsiteX55" fmla="*/ 1431332 w 12191993"/>
              <a:gd name="connsiteY55" fmla="*/ 6287757 h 6857996"/>
              <a:gd name="connsiteX56" fmla="*/ 1431332 w 12191993"/>
              <a:gd name="connsiteY56" fmla="*/ 6449910 h 6857996"/>
              <a:gd name="connsiteX57" fmla="*/ 1444960 w 12191993"/>
              <a:gd name="connsiteY57" fmla="*/ 6449910 h 6857996"/>
              <a:gd name="connsiteX58" fmla="*/ 1444960 w 12191993"/>
              <a:gd name="connsiteY58" fmla="*/ 6379861 h 6857996"/>
              <a:gd name="connsiteX59" fmla="*/ 1449821 w 12191993"/>
              <a:gd name="connsiteY59" fmla="*/ 6345808 h 6857996"/>
              <a:gd name="connsiteX60" fmla="*/ 1498150 w 12191993"/>
              <a:gd name="connsiteY60" fmla="*/ 6300406 h 6857996"/>
              <a:gd name="connsiteX61" fmla="*/ 1505609 w 12191993"/>
              <a:gd name="connsiteY61" fmla="*/ 6301055 h 6857996"/>
              <a:gd name="connsiteX62" fmla="*/ 1505609 w 12191993"/>
              <a:gd name="connsiteY62" fmla="*/ 6287433 h 6857996"/>
              <a:gd name="connsiteX63" fmla="*/ 1496207 w 12191993"/>
              <a:gd name="connsiteY63" fmla="*/ 6286463 h 6857996"/>
              <a:gd name="connsiteX64" fmla="*/ 2833876 w 12191993"/>
              <a:gd name="connsiteY64" fmla="*/ 6285815 h 6857996"/>
              <a:gd name="connsiteX65" fmla="*/ 2833876 w 12191993"/>
              <a:gd name="connsiteY65" fmla="*/ 6449910 h 6857996"/>
              <a:gd name="connsiteX66" fmla="*/ 2865337 w 12191993"/>
              <a:gd name="connsiteY66" fmla="*/ 6449910 h 6857996"/>
              <a:gd name="connsiteX67" fmla="*/ 2865337 w 12191993"/>
              <a:gd name="connsiteY67" fmla="*/ 6285815 h 6857996"/>
              <a:gd name="connsiteX68" fmla="*/ 1962617 w 12191993"/>
              <a:gd name="connsiteY68" fmla="*/ 6283866 h 6857996"/>
              <a:gd name="connsiteX69" fmla="*/ 1893850 w 12191993"/>
              <a:gd name="connsiteY69" fmla="*/ 6329593 h 6857996"/>
              <a:gd name="connsiteX70" fmla="*/ 1893201 w 12191993"/>
              <a:gd name="connsiteY70" fmla="*/ 6329593 h 6857996"/>
              <a:gd name="connsiteX71" fmla="*/ 1894499 w 12191993"/>
              <a:gd name="connsiteY71" fmla="*/ 6316296 h 6857996"/>
              <a:gd name="connsiteX72" fmla="*/ 1894499 w 12191993"/>
              <a:gd name="connsiteY72" fmla="*/ 6287757 h 6857996"/>
              <a:gd name="connsiteX73" fmla="*/ 1880875 w 12191993"/>
              <a:gd name="connsiteY73" fmla="*/ 6287757 h 6857996"/>
              <a:gd name="connsiteX74" fmla="*/ 1880875 w 12191993"/>
              <a:gd name="connsiteY74" fmla="*/ 6449909 h 6857996"/>
              <a:gd name="connsiteX75" fmla="*/ 1894500 w 12191993"/>
              <a:gd name="connsiteY75" fmla="*/ 6449909 h 6857996"/>
              <a:gd name="connsiteX76" fmla="*/ 1894500 w 12191993"/>
              <a:gd name="connsiteY76" fmla="*/ 6370779 h 6857996"/>
              <a:gd name="connsiteX77" fmla="*/ 1897093 w 12191993"/>
              <a:gd name="connsiteY77" fmla="*/ 6348730 h 6857996"/>
              <a:gd name="connsiteX78" fmla="*/ 1962617 w 12191993"/>
              <a:gd name="connsiteY78" fmla="*/ 6297163 h 6857996"/>
              <a:gd name="connsiteX79" fmla="*/ 2002511 w 12191993"/>
              <a:gd name="connsiteY79" fmla="*/ 6351972 h 6857996"/>
              <a:gd name="connsiteX80" fmla="*/ 2002511 w 12191993"/>
              <a:gd name="connsiteY80" fmla="*/ 6449909 h 6857996"/>
              <a:gd name="connsiteX81" fmla="*/ 2016132 w 12191993"/>
              <a:gd name="connsiteY81" fmla="*/ 6449909 h 6857996"/>
              <a:gd name="connsiteX82" fmla="*/ 2016132 w 12191993"/>
              <a:gd name="connsiteY82" fmla="*/ 6347107 h 6857996"/>
              <a:gd name="connsiteX83" fmla="*/ 1962617 w 12191993"/>
              <a:gd name="connsiteY83" fmla="*/ 6283866 h 6857996"/>
              <a:gd name="connsiteX84" fmla="*/ 1782992 w 12191993"/>
              <a:gd name="connsiteY84" fmla="*/ 6283866 h 6857996"/>
              <a:gd name="connsiteX85" fmla="*/ 1704172 w 12191993"/>
              <a:gd name="connsiteY85" fmla="*/ 6369160 h 6857996"/>
              <a:gd name="connsiteX86" fmla="*/ 1787858 w 12191993"/>
              <a:gd name="connsiteY86" fmla="*/ 6453801 h 6857996"/>
              <a:gd name="connsiteX87" fmla="*/ 1845593 w 12191993"/>
              <a:gd name="connsiteY87" fmla="*/ 6431427 h 6857996"/>
              <a:gd name="connsiteX88" fmla="*/ 1838134 w 12191993"/>
              <a:gd name="connsiteY88" fmla="*/ 6420073 h 6857996"/>
              <a:gd name="connsiteX89" fmla="*/ 1787858 w 12191993"/>
              <a:gd name="connsiteY89" fmla="*/ 6440508 h 6857996"/>
              <a:gd name="connsiteX90" fmla="*/ 1718442 w 12191993"/>
              <a:gd name="connsiteY90" fmla="*/ 6366563 h 6857996"/>
              <a:gd name="connsiteX91" fmla="*/ 1848511 w 12191993"/>
              <a:gd name="connsiteY91" fmla="*/ 6366563 h 6857996"/>
              <a:gd name="connsiteX92" fmla="*/ 1849161 w 12191993"/>
              <a:gd name="connsiteY92" fmla="*/ 6357807 h 6857996"/>
              <a:gd name="connsiteX93" fmla="*/ 1782992 w 12191993"/>
              <a:gd name="connsiteY93" fmla="*/ 6283866 h 6857996"/>
              <a:gd name="connsiteX94" fmla="*/ 3482643 w 12191993"/>
              <a:gd name="connsiteY94" fmla="*/ 6281922 h 6857996"/>
              <a:gd name="connsiteX95" fmla="*/ 3400581 w 12191993"/>
              <a:gd name="connsiteY95" fmla="*/ 6367862 h 6857996"/>
              <a:gd name="connsiteX96" fmla="*/ 3487504 w 12191993"/>
              <a:gd name="connsiteY96" fmla="*/ 6453801 h 6857996"/>
              <a:gd name="connsiteX97" fmla="*/ 3551085 w 12191993"/>
              <a:gd name="connsiteY97" fmla="*/ 6430452 h 6857996"/>
              <a:gd name="connsiteX98" fmla="*/ 3538105 w 12191993"/>
              <a:gd name="connsiteY98" fmla="*/ 6407425 h 6857996"/>
              <a:gd name="connsiteX99" fmla="*/ 3489453 w 12191993"/>
              <a:gd name="connsiteY99" fmla="*/ 6426561 h 6857996"/>
              <a:gd name="connsiteX100" fmla="*/ 3433015 w 12191993"/>
              <a:gd name="connsiteY100" fmla="*/ 6372402 h 6857996"/>
              <a:gd name="connsiteX101" fmla="*/ 3552700 w 12191993"/>
              <a:gd name="connsiteY101" fmla="*/ 6372402 h 6857996"/>
              <a:gd name="connsiteX102" fmla="*/ 3553673 w 12191993"/>
              <a:gd name="connsiteY102" fmla="*/ 6358780 h 6857996"/>
              <a:gd name="connsiteX103" fmla="*/ 3482643 w 12191993"/>
              <a:gd name="connsiteY103" fmla="*/ 6281922 h 6857996"/>
              <a:gd name="connsiteX104" fmla="*/ 3328545 w 12191993"/>
              <a:gd name="connsiteY104" fmla="*/ 6281922 h 6857996"/>
              <a:gd name="connsiteX105" fmla="*/ 3240639 w 12191993"/>
              <a:gd name="connsiteY105" fmla="*/ 6367862 h 6857996"/>
              <a:gd name="connsiteX106" fmla="*/ 3328545 w 12191993"/>
              <a:gd name="connsiteY106" fmla="*/ 6453801 h 6857996"/>
              <a:gd name="connsiteX107" fmla="*/ 3394065 w 12191993"/>
              <a:gd name="connsiteY107" fmla="*/ 6427535 h 6857996"/>
              <a:gd name="connsiteX108" fmla="*/ 3381411 w 12191993"/>
              <a:gd name="connsiteY108" fmla="*/ 6404507 h 6857996"/>
              <a:gd name="connsiteX109" fmla="*/ 3330810 w 12191993"/>
              <a:gd name="connsiteY109" fmla="*/ 6426561 h 6857996"/>
              <a:gd name="connsiteX110" fmla="*/ 3272749 w 12191993"/>
              <a:gd name="connsiteY110" fmla="*/ 6367536 h 6857996"/>
              <a:gd name="connsiteX111" fmla="*/ 3329836 w 12191993"/>
              <a:gd name="connsiteY111" fmla="*/ 6309162 h 6857996"/>
              <a:gd name="connsiteX112" fmla="*/ 3375250 w 12191993"/>
              <a:gd name="connsiteY112" fmla="*/ 6327973 h 6857996"/>
              <a:gd name="connsiteX113" fmla="*/ 3390169 w 12191993"/>
              <a:gd name="connsiteY113" fmla="*/ 6305919 h 6857996"/>
              <a:gd name="connsiteX114" fmla="*/ 3328545 w 12191993"/>
              <a:gd name="connsiteY114" fmla="*/ 6281922 h 6857996"/>
              <a:gd name="connsiteX115" fmla="*/ 3161340 w 12191993"/>
              <a:gd name="connsiteY115" fmla="*/ 6281922 h 6857996"/>
              <a:gd name="connsiteX116" fmla="*/ 3099708 w 12191993"/>
              <a:gd name="connsiteY116" fmla="*/ 6319542 h 6857996"/>
              <a:gd name="connsiteX117" fmla="*/ 3099059 w 12191993"/>
              <a:gd name="connsiteY117" fmla="*/ 6319542 h 6857996"/>
              <a:gd name="connsiteX118" fmla="*/ 3099708 w 12191993"/>
              <a:gd name="connsiteY118" fmla="*/ 6307543 h 6857996"/>
              <a:gd name="connsiteX119" fmla="*/ 3099708 w 12191993"/>
              <a:gd name="connsiteY119" fmla="*/ 6285814 h 6857996"/>
              <a:gd name="connsiteX120" fmla="*/ 3069221 w 12191993"/>
              <a:gd name="connsiteY120" fmla="*/ 6285814 h 6857996"/>
              <a:gd name="connsiteX121" fmla="*/ 3069221 w 12191993"/>
              <a:gd name="connsiteY121" fmla="*/ 6449909 h 6857996"/>
              <a:gd name="connsiteX122" fmla="*/ 3100682 w 12191993"/>
              <a:gd name="connsiteY122" fmla="*/ 6449909 h 6857996"/>
              <a:gd name="connsiteX123" fmla="*/ 3100682 w 12191993"/>
              <a:gd name="connsiteY123" fmla="*/ 6373051 h 6857996"/>
              <a:gd name="connsiteX124" fmla="*/ 3103280 w 12191993"/>
              <a:gd name="connsiteY124" fmla="*/ 6350997 h 6857996"/>
              <a:gd name="connsiteX125" fmla="*/ 3155171 w 12191993"/>
              <a:gd name="connsiteY125" fmla="*/ 6310785 h 6857996"/>
              <a:gd name="connsiteX126" fmla="*/ 3186316 w 12191993"/>
              <a:gd name="connsiteY126" fmla="*/ 6351971 h 6857996"/>
              <a:gd name="connsiteX127" fmla="*/ 3186316 w 12191993"/>
              <a:gd name="connsiteY127" fmla="*/ 6449909 h 6857996"/>
              <a:gd name="connsiteX128" fmla="*/ 3217777 w 12191993"/>
              <a:gd name="connsiteY128" fmla="*/ 6449909 h 6857996"/>
              <a:gd name="connsiteX129" fmla="*/ 3217777 w 12191993"/>
              <a:gd name="connsiteY129" fmla="*/ 6344838 h 6857996"/>
              <a:gd name="connsiteX130" fmla="*/ 3161340 w 12191993"/>
              <a:gd name="connsiteY130" fmla="*/ 6281922 h 6857996"/>
              <a:gd name="connsiteX131" fmla="*/ 2972280 w 12191993"/>
              <a:gd name="connsiteY131" fmla="*/ 6281922 h 6857996"/>
              <a:gd name="connsiteX132" fmla="*/ 2890218 w 12191993"/>
              <a:gd name="connsiteY132" fmla="*/ 6367862 h 6857996"/>
              <a:gd name="connsiteX133" fmla="*/ 2977142 w 12191993"/>
              <a:gd name="connsiteY133" fmla="*/ 6453801 h 6857996"/>
              <a:gd name="connsiteX134" fmla="*/ 3040722 w 12191993"/>
              <a:gd name="connsiteY134" fmla="*/ 6430452 h 6857996"/>
              <a:gd name="connsiteX135" fmla="*/ 3027743 w 12191993"/>
              <a:gd name="connsiteY135" fmla="*/ 6407425 h 6857996"/>
              <a:gd name="connsiteX136" fmla="*/ 2979090 w 12191993"/>
              <a:gd name="connsiteY136" fmla="*/ 6426561 h 6857996"/>
              <a:gd name="connsiteX137" fmla="*/ 2922653 w 12191993"/>
              <a:gd name="connsiteY137" fmla="*/ 6372402 h 6857996"/>
              <a:gd name="connsiteX138" fmla="*/ 3042338 w 12191993"/>
              <a:gd name="connsiteY138" fmla="*/ 6372402 h 6857996"/>
              <a:gd name="connsiteX139" fmla="*/ 3043311 w 12191993"/>
              <a:gd name="connsiteY139" fmla="*/ 6358780 h 6857996"/>
              <a:gd name="connsiteX140" fmla="*/ 2972280 w 12191993"/>
              <a:gd name="connsiteY140" fmla="*/ 6281922 h 6857996"/>
              <a:gd name="connsiteX141" fmla="*/ 2748837 w 12191993"/>
              <a:gd name="connsiteY141" fmla="*/ 6281922 h 6857996"/>
              <a:gd name="connsiteX142" fmla="*/ 2660931 w 12191993"/>
              <a:gd name="connsiteY142" fmla="*/ 6367862 h 6857996"/>
              <a:gd name="connsiteX143" fmla="*/ 2748837 w 12191993"/>
              <a:gd name="connsiteY143" fmla="*/ 6453801 h 6857996"/>
              <a:gd name="connsiteX144" fmla="*/ 2814356 w 12191993"/>
              <a:gd name="connsiteY144" fmla="*/ 6427535 h 6857996"/>
              <a:gd name="connsiteX145" fmla="*/ 2801703 w 12191993"/>
              <a:gd name="connsiteY145" fmla="*/ 6404507 h 6857996"/>
              <a:gd name="connsiteX146" fmla="*/ 2751101 w 12191993"/>
              <a:gd name="connsiteY146" fmla="*/ 6426561 h 6857996"/>
              <a:gd name="connsiteX147" fmla="*/ 2693040 w 12191993"/>
              <a:gd name="connsiteY147" fmla="*/ 6367536 h 6857996"/>
              <a:gd name="connsiteX148" fmla="*/ 2750128 w 12191993"/>
              <a:gd name="connsiteY148" fmla="*/ 6309162 h 6857996"/>
              <a:gd name="connsiteX149" fmla="*/ 2795541 w 12191993"/>
              <a:gd name="connsiteY149" fmla="*/ 6327973 h 6857996"/>
              <a:gd name="connsiteX150" fmla="*/ 2810461 w 12191993"/>
              <a:gd name="connsiteY150" fmla="*/ 6305919 h 6857996"/>
              <a:gd name="connsiteX151" fmla="*/ 2748837 w 12191993"/>
              <a:gd name="connsiteY151" fmla="*/ 6281922 h 6857996"/>
              <a:gd name="connsiteX152" fmla="*/ 2593020 w 12191993"/>
              <a:gd name="connsiteY152" fmla="*/ 6281922 h 6857996"/>
              <a:gd name="connsiteX153" fmla="*/ 2533661 w 12191993"/>
              <a:gd name="connsiteY153" fmla="*/ 6328619 h 6857996"/>
              <a:gd name="connsiteX154" fmla="*/ 2617996 w 12191993"/>
              <a:gd name="connsiteY154" fmla="*/ 6406130 h 6857996"/>
              <a:gd name="connsiteX155" fmla="*/ 2590747 w 12191993"/>
              <a:gd name="connsiteY155" fmla="*/ 6426561 h 6857996"/>
              <a:gd name="connsiteX156" fmla="*/ 2543718 w 12191993"/>
              <a:gd name="connsiteY156" fmla="*/ 6407425 h 6857996"/>
              <a:gd name="connsiteX157" fmla="*/ 2528466 w 12191993"/>
              <a:gd name="connsiteY157" fmla="*/ 6429803 h 6857996"/>
              <a:gd name="connsiteX158" fmla="*/ 2590747 w 12191993"/>
              <a:gd name="connsiteY158" fmla="*/ 6453801 h 6857996"/>
              <a:gd name="connsiteX159" fmla="*/ 2650106 w 12191993"/>
              <a:gd name="connsiteY159" fmla="*/ 6406130 h 6857996"/>
              <a:gd name="connsiteX160" fmla="*/ 2565771 w 12191993"/>
              <a:gd name="connsiteY160" fmla="*/ 6329268 h 6857996"/>
              <a:gd name="connsiteX161" fmla="*/ 2592695 w 12191993"/>
              <a:gd name="connsiteY161" fmla="*/ 6309162 h 6857996"/>
              <a:gd name="connsiteX162" fmla="*/ 2633239 w 12191993"/>
              <a:gd name="connsiteY162" fmla="*/ 6323757 h 6857996"/>
              <a:gd name="connsiteX163" fmla="*/ 2645885 w 12191993"/>
              <a:gd name="connsiteY163" fmla="*/ 6300081 h 6857996"/>
              <a:gd name="connsiteX164" fmla="*/ 2593020 w 12191993"/>
              <a:gd name="connsiteY164" fmla="*/ 6281922 h 6857996"/>
              <a:gd name="connsiteX165" fmla="*/ 1223619 w 12191993"/>
              <a:gd name="connsiteY165" fmla="*/ 6235871 h 6857996"/>
              <a:gd name="connsiteX166" fmla="*/ 1278761 w 12191993"/>
              <a:gd name="connsiteY166" fmla="*/ 6235871 h 6857996"/>
              <a:gd name="connsiteX167" fmla="*/ 1379638 w 12191993"/>
              <a:gd name="connsiteY167" fmla="*/ 6336406 h 6857996"/>
              <a:gd name="connsiteX168" fmla="*/ 1278761 w 12191993"/>
              <a:gd name="connsiteY168" fmla="*/ 6436937 h 6857996"/>
              <a:gd name="connsiteX169" fmla="*/ 1223619 w 12191993"/>
              <a:gd name="connsiteY169" fmla="*/ 6436937 h 6857996"/>
              <a:gd name="connsiteX170" fmla="*/ 2147812 w 12191993"/>
              <a:gd name="connsiteY170" fmla="*/ 6222898 h 6857996"/>
              <a:gd name="connsiteX171" fmla="*/ 2147812 w 12191993"/>
              <a:gd name="connsiteY171" fmla="*/ 6449909 h 6857996"/>
              <a:gd name="connsiteX172" fmla="*/ 2161440 w 12191993"/>
              <a:gd name="connsiteY172" fmla="*/ 6449909 h 6857996"/>
              <a:gd name="connsiteX173" fmla="*/ 2161440 w 12191993"/>
              <a:gd name="connsiteY173" fmla="*/ 6431426 h 6857996"/>
              <a:gd name="connsiteX174" fmla="*/ 2160141 w 12191993"/>
              <a:gd name="connsiteY174" fmla="*/ 6417155 h 6857996"/>
              <a:gd name="connsiteX175" fmla="*/ 2160791 w 12191993"/>
              <a:gd name="connsiteY175" fmla="*/ 6417155 h 6857996"/>
              <a:gd name="connsiteX176" fmla="*/ 2216903 w 12191993"/>
              <a:gd name="connsiteY176" fmla="*/ 6453801 h 6857996"/>
              <a:gd name="connsiteX177" fmla="*/ 2289558 w 12191993"/>
              <a:gd name="connsiteY177" fmla="*/ 6368835 h 6857996"/>
              <a:gd name="connsiteX178" fmla="*/ 2219501 w 12191993"/>
              <a:gd name="connsiteY178" fmla="*/ 6283866 h 6857996"/>
              <a:gd name="connsiteX179" fmla="*/ 2160791 w 12191993"/>
              <a:gd name="connsiteY179" fmla="*/ 6320511 h 6857996"/>
              <a:gd name="connsiteX180" fmla="*/ 2160141 w 12191993"/>
              <a:gd name="connsiteY180" fmla="*/ 6320511 h 6857996"/>
              <a:gd name="connsiteX181" fmla="*/ 2161440 w 12191993"/>
              <a:gd name="connsiteY181" fmla="*/ 6307218 h 6857996"/>
              <a:gd name="connsiteX182" fmla="*/ 2161440 w 12191993"/>
              <a:gd name="connsiteY182" fmla="*/ 6222898 h 6857996"/>
              <a:gd name="connsiteX183" fmla="*/ 1525168 w 12191993"/>
              <a:gd name="connsiteY183" fmla="*/ 6222898 h 6857996"/>
              <a:gd name="connsiteX184" fmla="*/ 1525168 w 12191993"/>
              <a:gd name="connsiteY184" fmla="*/ 6246571 h 6857996"/>
              <a:gd name="connsiteX185" fmla="*/ 1541386 w 12191993"/>
              <a:gd name="connsiteY185" fmla="*/ 6246571 h 6857996"/>
              <a:gd name="connsiteX186" fmla="*/ 1541386 w 12191993"/>
              <a:gd name="connsiteY186" fmla="*/ 6222898 h 6857996"/>
              <a:gd name="connsiteX187" fmla="*/ 1209670 w 12191993"/>
              <a:gd name="connsiteY187" fmla="*/ 6222898 h 6857996"/>
              <a:gd name="connsiteX188" fmla="*/ 1209670 w 12191993"/>
              <a:gd name="connsiteY188" fmla="*/ 6449909 h 6857996"/>
              <a:gd name="connsiteX189" fmla="*/ 1281034 w 12191993"/>
              <a:gd name="connsiteY189" fmla="*/ 6449909 h 6857996"/>
              <a:gd name="connsiteX190" fmla="*/ 1394232 w 12191993"/>
              <a:gd name="connsiteY190" fmla="*/ 6336406 h 6857996"/>
              <a:gd name="connsiteX191" fmla="*/ 1281034 w 12191993"/>
              <a:gd name="connsiteY191" fmla="*/ 6222898 h 6857996"/>
              <a:gd name="connsiteX192" fmla="*/ 2833551 w 12191993"/>
              <a:gd name="connsiteY192" fmla="*/ 6220951 h 6857996"/>
              <a:gd name="connsiteX193" fmla="*/ 2833551 w 12191993"/>
              <a:gd name="connsiteY193" fmla="*/ 6253060 h 6857996"/>
              <a:gd name="connsiteX194" fmla="*/ 2865337 w 12191993"/>
              <a:gd name="connsiteY194" fmla="*/ 6253060 h 6857996"/>
              <a:gd name="connsiteX195" fmla="*/ 2865337 w 12191993"/>
              <a:gd name="connsiteY195" fmla="*/ 6220951 h 6857996"/>
              <a:gd name="connsiteX196" fmla="*/ 982628 w 12191993"/>
              <a:gd name="connsiteY196" fmla="*/ 6207360 h 6857996"/>
              <a:gd name="connsiteX197" fmla="*/ 740053 w 12191993"/>
              <a:gd name="connsiteY197" fmla="*/ 6449905 h 6857996"/>
              <a:gd name="connsiteX198" fmla="*/ 982628 w 12191993"/>
              <a:gd name="connsiteY198" fmla="*/ 6449909 h 6857996"/>
              <a:gd name="connsiteX199" fmla="*/ 407989 w 12191993"/>
              <a:gd name="connsiteY199" fmla="*/ 6207356 h 6857996"/>
              <a:gd name="connsiteX200" fmla="*/ 407989 w 12191993"/>
              <a:gd name="connsiteY200" fmla="*/ 6449905 h 6857996"/>
              <a:gd name="connsiteX201" fmla="*/ 650564 w 12191993"/>
              <a:gd name="connsiteY201" fmla="*/ 6449905 h 6857996"/>
              <a:gd name="connsiteX202" fmla="*/ 407989 w 12191993"/>
              <a:gd name="connsiteY202" fmla="*/ 6207356 h 6857996"/>
              <a:gd name="connsiteX203" fmla="*/ 883619 w 12191993"/>
              <a:gd name="connsiteY203" fmla="*/ 6147250 h 6857996"/>
              <a:gd name="connsiteX204" fmla="*/ 915428 w 12191993"/>
              <a:gd name="connsiteY204" fmla="*/ 6147250 h 6857996"/>
              <a:gd name="connsiteX205" fmla="*/ 915428 w 12191993"/>
              <a:gd name="connsiteY205" fmla="*/ 6178023 h 6857996"/>
              <a:gd name="connsiteX206" fmla="*/ 883619 w 12191993"/>
              <a:gd name="connsiteY206" fmla="*/ 6178023 h 6857996"/>
              <a:gd name="connsiteX207" fmla="*/ 739956 w 12191993"/>
              <a:gd name="connsiteY207" fmla="*/ 6106213 h 6857996"/>
              <a:gd name="connsiteX208" fmla="*/ 739956 w 12191993"/>
              <a:gd name="connsiteY208" fmla="*/ 6219065 h 6857996"/>
              <a:gd name="connsiteX209" fmla="*/ 830261 w 12191993"/>
              <a:gd name="connsiteY209" fmla="*/ 6219065 h 6857996"/>
              <a:gd name="connsiteX210" fmla="*/ 830261 w 12191993"/>
              <a:gd name="connsiteY210" fmla="*/ 6178031 h 6857996"/>
              <a:gd name="connsiteX211" fmla="*/ 781009 w 12191993"/>
              <a:gd name="connsiteY211" fmla="*/ 6178031 h 6857996"/>
              <a:gd name="connsiteX212" fmla="*/ 781009 w 12191993"/>
              <a:gd name="connsiteY212" fmla="*/ 6147251 h 6857996"/>
              <a:gd name="connsiteX213" fmla="*/ 830261 w 12191993"/>
              <a:gd name="connsiteY213" fmla="*/ 6147251 h 6857996"/>
              <a:gd name="connsiteX214" fmla="*/ 830261 w 12191993"/>
              <a:gd name="connsiteY214" fmla="*/ 6106213 h 6857996"/>
              <a:gd name="connsiteX215" fmla="*/ 3802396 w 12191993"/>
              <a:gd name="connsiteY215" fmla="*/ 6068975 h 6857996"/>
              <a:gd name="connsiteX216" fmla="*/ 3802396 w 12191993"/>
              <a:gd name="connsiteY216" fmla="*/ 6102379 h 6857996"/>
              <a:gd name="connsiteX217" fmla="*/ 3835481 w 12191993"/>
              <a:gd name="connsiteY217" fmla="*/ 6102379 h 6857996"/>
              <a:gd name="connsiteX218" fmla="*/ 3835481 w 12191993"/>
              <a:gd name="connsiteY218" fmla="*/ 6068975 h 6857996"/>
              <a:gd name="connsiteX219" fmla="*/ 842572 w 12191993"/>
              <a:gd name="connsiteY219" fmla="*/ 6042596 h 6857996"/>
              <a:gd name="connsiteX220" fmla="*/ 842572 w 12191993"/>
              <a:gd name="connsiteY220" fmla="*/ 6219054 h 6857996"/>
              <a:gd name="connsiteX221" fmla="*/ 953399 w 12191993"/>
              <a:gd name="connsiteY221" fmla="*/ 6219054 h 6857996"/>
              <a:gd name="connsiteX222" fmla="*/ 953399 w 12191993"/>
              <a:gd name="connsiteY222" fmla="*/ 6106202 h 6857996"/>
              <a:gd name="connsiteX223" fmla="*/ 883619 w 12191993"/>
              <a:gd name="connsiteY223" fmla="*/ 6106202 h 6857996"/>
              <a:gd name="connsiteX224" fmla="*/ 883619 w 12191993"/>
              <a:gd name="connsiteY224" fmla="*/ 6042596 h 6857996"/>
              <a:gd name="connsiteX225" fmla="*/ 2979149 w 12191993"/>
              <a:gd name="connsiteY225" fmla="*/ 6023573 h 6857996"/>
              <a:gd name="connsiteX226" fmla="*/ 2987258 w 12191993"/>
              <a:gd name="connsiteY226" fmla="*/ 6023573 h 6857996"/>
              <a:gd name="connsiteX227" fmla="*/ 2987258 w 12191993"/>
              <a:gd name="connsiteY227" fmla="*/ 6028762 h 6857996"/>
              <a:gd name="connsiteX228" fmla="*/ 2943468 w 12191993"/>
              <a:gd name="connsiteY228" fmla="*/ 6080974 h 6857996"/>
              <a:gd name="connsiteX229" fmla="*/ 2912656 w 12191993"/>
              <a:gd name="connsiteY229" fmla="*/ 6054708 h 6857996"/>
              <a:gd name="connsiteX230" fmla="*/ 2979149 w 12191993"/>
              <a:gd name="connsiteY230" fmla="*/ 6023573 h 6857996"/>
              <a:gd name="connsiteX231" fmla="*/ 2790699 w 12191993"/>
              <a:gd name="connsiteY231" fmla="*/ 5961955 h 6857996"/>
              <a:gd name="connsiteX232" fmla="*/ 2837087 w 12191993"/>
              <a:gd name="connsiteY232" fmla="*/ 6020654 h 6857996"/>
              <a:gd name="connsiteX233" fmla="*/ 2789732 w 12191993"/>
              <a:gd name="connsiteY233" fmla="*/ 6079354 h 6857996"/>
              <a:gd name="connsiteX234" fmla="*/ 2743344 w 12191993"/>
              <a:gd name="connsiteY234" fmla="*/ 6020979 h 6857996"/>
              <a:gd name="connsiteX235" fmla="*/ 2790699 w 12191993"/>
              <a:gd name="connsiteY235" fmla="*/ 5961955 h 6857996"/>
              <a:gd name="connsiteX236" fmla="*/ 3285066 w 12191993"/>
              <a:gd name="connsiteY236" fmla="*/ 5959362 h 6857996"/>
              <a:gd name="connsiteX237" fmla="*/ 3324644 w 12191993"/>
              <a:gd name="connsiteY237" fmla="*/ 6001198 h 6857996"/>
              <a:gd name="connsiteX238" fmla="*/ 3237062 w 12191993"/>
              <a:gd name="connsiteY238" fmla="*/ 6001198 h 6857996"/>
              <a:gd name="connsiteX239" fmla="*/ 3285066 w 12191993"/>
              <a:gd name="connsiteY239" fmla="*/ 5959362 h 6857996"/>
              <a:gd name="connsiteX240" fmla="*/ 2389939 w 12191993"/>
              <a:gd name="connsiteY240" fmla="*/ 5949632 h 6857996"/>
              <a:gd name="connsiteX241" fmla="*/ 2446377 w 12191993"/>
              <a:gd name="connsiteY241" fmla="*/ 6021305 h 6857996"/>
              <a:gd name="connsiteX242" fmla="*/ 2388641 w 12191993"/>
              <a:gd name="connsiteY242" fmla="*/ 6092976 h 6857996"/>
              <a:gd name="connsiteX243" fmla="*/ 2332204 w 12191993"/>
              <a:gd name="connsiteY243" fmla="*/ 6021629 h 6857996"/>
              <a:gd name="connsiteX244" fmla="*/ 2389939 w 12191993"/>
              <a:gd name="connsiteY244" fmla="*/ 5949632 h 6857996"/>
              <a:gd name="connsiteX245" fmla="*/ 2115219 w 12191993"/>
              <a:gd name="connsiteY245" fmla="*/ 5949632 h 6857996"/>
              <a:gd name="connsiteX246" fmla="*/ 2171660 w 12191993"/>
              <a:gd name="connsiteY246" fmla="*/ 6020980 h 6857996"/>
              <a:gd name="connsiteX247" fmla="*/ 2113920 w 12191993"/>
              <a:gd name="connsiteY247" fmla="*/ 6092976 h 6857996"/>
              <a:gd name="connsiteX248" fmla="*/ 2057481 w 12191993"/>
              <a:gd name="connsiteY248" fmla="*/ 6021305 h 6857996"/>
              <a:gd name="connsiteX249" fmla="*/ 2115219 w 12191993"/>
              <a:gd name="connsiteY249" fmla="*/ 5949632 h 6857996"/>
              <a:gd name="connsiteX250" fmla="*/ 1641577 w 12191993"/>
              <a:gd name="connsiteY250" fmla="*/ 5949632 h 6857996"/>
              <a:gd name="connsiteX251" fmla="*/ 1698014 w 12191993"/>
              <a:gd name="connsiteY251" fmla="*/ 6021304 h 6857996"/>
              <a:gd name="connsiteX252" fmla="*/ 1640278 w 12191993"/>
              <a:gd name="connsiteY252" fmla="*/ 6092976 h 6857996"/>
              <a:gd name="connsiteX253" fmla="*/ 1583842 w 12191993"/>
              <a:gd name="connsiteY253" fmla="*/ 6021628 h 6857996"/>
              <a:gd name="connsiteX254" fmla="*/ 1641577 w 12191993"/>
              <a:gd name="connsiteY254" fmla="*/ 5949632 h 6857996"/>
              <a:gd name="connsiteX255" fmla="*/ 1954957 w 12191993"/>
              <a:gd name="connsiteY255" fmla="*/ 5948983 h 6857996"/>
              <a:gd name="connsiteX256" fmla="*/ 2007177 w 12191993"/>
              <a:gd name="connsiteY256" fmla="*/ 6006384 h 6857996"/>
              <a:gd name="connsiteX257" fmla="*/ 1891706 w 12191993"/>
              <a:gd name="connsiteY257" fmla="*/ 6006384 h 6857996"/>
              <a:gd name="connsiteX258" fmla="*/ 1954957 w 12191993"/>
              <a:gd name="connsiteY258" fmla="*/ 5948983 h 6857996"/>
              <a:gd name="connsiteX259" fmla="*/ 2464407 w 12191993"/>
              <a:gd name="connsiteY259" fmla="*/ 5940226 h 6857996"/>
              <a:gd name="connsiteX260" fmla="*/ 2531550 w 12191993"/>
              <a:gd name="connsiteY260" fmla="*/ 6101405 h 6857996"/>
              <a:gd name="connsiteX261" fmla="*/ 2519870 w 12191993"/>
              <a:gd name="connsiteY261" fmla="*/ 6128324 h 6857996"/>
              <a:gd name="connsiteX262" fmla="*/ 2488084 w 12191993"/>
              <a:gd name="connsiteY262" fmla="*/ 6157511 h 6857996"/>
              <a:gd name="connsiteX263" fmla="*/ 2467970 w 12191993"/>
              <a:gd name="connsiteY263" fmla="*/ 6149728 h 6857996"/>
              <a:gd name="connsiteX264" fmla="*/ 2461809 w 12191993"/>
              <a:gd name="connsiteY264" fmla="*/ 6161402 h 6857996"/>
              <a:gd name="connsiteX265" fmla="*/ 2488084 w 12191993"/>
              <a:gd name="connsiteY265" fmla="*/ 6170485 h 6857996"/>
              <a:gd name="connsiteX266" fmla="*/ 2529277 w 12191993"/>
              <a:gd name="connsiteY266" fmla="*/ 6140322 h 6857996"/>
              <a:gd name="connsiteX267" fmla="*/ 2612638 w 12191993"/>
              <a:gd name="connsiteY267" fmla="*/ 5940226 h 6857996"/>
              <a:gd name="connsiteX268" fmla="*/ 2598044 w 12191993"/>
              <a:gd name="connsiteY268" fmla="*/ 5940226 h 6857996"/>
              <a:gd name="connsiteX269" fmla="*/ 2544521 w 12191993"/>
              <a:gd name="connsiteY269" fmla="*/ 6069624 h 6857996"/>
              <a:gd name="connsiteX270" fmla="*/ 2539009 w 12191993"/>
              <a:gd name="connsiteY270" fmla="*/ 6084865 h 6857996"/>
              <a:gd name="connsiteX271" fmla="*/ 2538360 w 12191993"/>
              <a:gd name="connsiteY271" fmla="*/ 6084865 h 6857996"/>
              <a:gd name="connsiteX272" fmla="*/ 2532516 w 12191993"/>
              <a:gd name="connsiteY272" fmla="*/ 6069624 h 6857996"/>
              <a:gd name="connsiteX273" fmla="*/ 2479001 w 12191993"/>
              <a:gd name="connsiteY273" fmla="*/ 5940226 h 6857996"/>
              <a:gd name="connsiteX274" fmla="*/ 1744846 w 12191993"/>
              <a:gd name="connsiteY274" fmla="*/ 5940226 h 6857996"/>
              <a:gd name="connsiteX275" fmla="*/ 1744846 w 12191993"/>
              <a:gd name="connsiteY275" fmla="*/ 6102378 h 6857996"/>
              <a:gd name="connsiteX276" fmla="*/ 1758470 w 12191993"/>
              <a:gd name="connsiteY276" fmla="*/ 6102378 h 6857996"/>
              <a:gd name="connsiteX277" fmla="*/ 1758470 w 12191993"/>
              <a:gd name="connsiteY277" fmla="*/ 5940226 h 6857996"/>
              <a:gd name="connsiteX278" fmla="*/ 1864854 w 12191993"/>
              <a:gd name="connsiteY278" fmla="*/ 5938932 h 6857996"/>
              <a:gd name="connsiteX279" fmla="*/ 1812955 w 12191993"/>
              <a:gd name="connsiteY279" fmla="*/ 5984334 h 6857996"/>
              <a:gd name="connsiteX280" fmla="*/ 1812306 w 12191993"/>
              <a:gd name="connsiteY280" fmla="*/ 5984334 h 6857996"/>
              <a:gd name="connsiteX281" fmla="*/ 1813604 w 12191993"/>
              <a:gd name="connsiteY281" fmla="*/ 5971037 h 6857996"/>
              <a:gd name="connsiteX282" fmla="*/ 1813604 w 12191993"/>
              <a:gd name="connsiteY282" fmla="*/ 5940226 h 6857996"/>
              <a:gd name="connsiteX283" fmla="*/ 1799984 w 12191993"/>
              <a:gd name="connsiteY283" fmla="*/ 5940226 h 6857996"/>
              <a:gd name="connsiteX284" fmla="*/ 1799984 w 12191993"/>
              <a:gd name="connsiteY284" fmla="*/ 6102378 h 6857996"/>
              <a:gd name="connsiteX285" fmla="*/ 1813604 w 12191993"/>
              <a:gd name="connsiteY285" fmla="*/ 6102378 h 6857996"/>
              <a:gd name="connsiteX286" fmla="*/ 1813604 w 12191993"/>
              <a:gd name="connsiteY286" fmla="*/ 6032329 h 6857996"/>
              <a:gd name="connsiteX287" fmla="*/ 1818470 w 12191993"/>
              <a:gd name="connsiteY287" fmla="*/ 5998276 h 6857996"/>
              <a:gd name="connsiteX288" fmla="*/ 1866802 w 12191993"/>
              <a:gd name="connsiteY288" fmla="*/ 5952874 h 6857996"/>
              <a:gd name="connsiteX289" fmla="*/ 1874262 w 12191993"/>
              <a:gd name="connsiteY289" fmla="*/ 5953523 h 6857996"/>
              <a:gd name="connsiteX290" fmla="*/ 1874262 w 12191993"/>
              <a:gd name="connsiteY290" fmla="*/ 5939902 h 6857996"/>
              <a:gd name="connsiteX291" fmla="*/ 1864854 w 12191993"/>
              <a:gd name="connsiteY291" fmla="*/ 5938932 h 6857996"/>
              <a:gd name="connsiteX292" fmla="*/ 3147319 w 12191993"/>
              <a:gd name="connsiteY292" fmla="*/ 5938282 h 6857996"/>
              <a:gd name="connsiteX293" fmla="*/ 3147319 w 12191993"/>
              <a:gd name="connsiteY293" fmla="*/ 6102378 h 6857996"/>
              <a:gd name="connsiteX294" fmla="*/ 3178780 w 12191993"/>
              <a:gd name="connsiteY294" fmla="*/ 6102378 h 6857996"/>
              <a:gd name="connsiteX295" fmla="*/ 3178780 w 12191993"/>
              <a:gd name="connsiteY295" fmla="*/ 5938282 h 6857996"/>
              <a:gd name="connsiteX296" fmla="*/ 1955281 w 12191993"/>
              <a:gd name="connsiteY296" fmla="*/ 5936335 h 6857996"/>
              <a:gd name="connsiteX297" fmla="*/ 1876463 w 12191993"/>
              <a:gd name="connsiteY297" fmla="*/ 6021629 h 6857996"/>
              <a:gd name="connsiteX298" fmla="*/ 1960147 w 12191993"/>
              <a:gd name="connsiteY298" fmla="*/ 6106269 h 6857996"/>
              <a:gd name="connsiteX299" fmla="*/ 2017884 w 12191993"/>
              <a:gd name="connsiteY299" fmla="*/ 6083895 h 6857996"/>
              <a:gd name="connsiteX300" fmla="*/ 2010424 w 12191993"/>
              <a:gd name="connsiteY300" fmla="*/ 6072541 h 6857996"/>
              <a:gd name="connsiteX301" fmla="*/ 1960147 w 12191993"/>
              <a:gd name="connsiteY301" fmla="*/ 6092976 h 6857996"/>
              <a:gd name="connsiteX302" fmla="*/ 1890731 w 12191993"/>
              <a:gd name="connsiteY302" fmla="*/ 6019031 h 6857996"/>
              <a:gd name="connsiteX303" fmla="*/ 2020802 w 12191993"/>
              <a:gd name="connsiteY303" fmla="*/ 6019031 h 6857996"/>
              <a:gd name="connsiteX304" fmla="*/ 2021451 w 12191993"/>
              <a:gd name="connsiteY304" fmla="*/ 6010275 h 6857996"/>
              <a:gd name="connsiteX305" fmla="*/ 1955281 w 12191993"/>
              <a:gd name="connsiteY305" fmla="*/ 5936335 h 6857996"/>
              <a:gd name="connsiteX306" fmla="*/ 1642226 w 12191993"/>
              <a:gd name="connsiteY306" fmla="*/ 5936335 h 6857996"/>
              <a:gd name="connsiteX307" fmla="*/ 1583842 w 12191993"/>
              <a:gd name="connsiteY307" fmla="*/ 5972656 h 6857996"/>
              <a:gd name="connsiteX308" fmla="*/ 1583192 w 12191993"/>
              <a:gd name="connsiteY308" fmla="*/ 5972655 h 6857996"/>
              <a:gd name="connsiteX309" fmla="*/ 1584166 w 12191993"/>
              <a:gd name="connsiteY309" fmla="*/ 5959687 h 6857996"/>
              <a:gd name="connsiteX310" fmla="*/ 1584166 w 12191993"/>
              <a:gd name="connsiteY310" fmla="*/ 5940226 h 6857996"/>
              <a:gd name="connsiteX311" fmla="*/ 1570538 w 12191993"/>
              <a:gd name="connsiteY311" fmla="*/ 5940226 h 6857996"/>
              <a:gd name="connsiteX312" fmla="*/ 1570538 w 12191993"/>
              <a:gd name="connsiteY312" fmla="*/ 6167243 h 6857996"/>
              <a:gd name="connsiteX313" fmla="*/ 1584166 w 12191993"/>
              <a:gd name="connsiteY313" fmla="*/ 6167243 h 6857996"/>
              <a:gd name="connsiteX314" fmla="*/ 1584166 w 12191993"/>
              <a:gd name="connsiteY314" fmla="*/ 6083895 h 6857996"/>
              <a:gd name="connsiteX315" fmla="*/ 1582867 w 12191993"/>
              <a:gd name="connsiteY315" fmla="*/ 6069624 h 6857996"/>
              <a:gd name="connsiteX316" fmla="*/ 1583517 w 12191993"/>
              <a:gd name="connsiteY316" fmla="*/ 6069624 h 6857996"/>
              <a:gd name="connsiteX317" fmla="*/ 1640279 w 12191993"/>
              <a:gd name="connsiteY317" fmla="*/ 6106269 h 6857996"/>
              <a:gd name="connsiteX318" fmla="*/ 1712284 w 12191993"/>
              <a:gd name="connsiteY318" fmla="*/ 6021304 h 6857996"/>
              <a:gd name="connsiteX319" fmla="*/ 1642226 w 12191993"/>
              <a:gd name="connsiteY319" fmla="*/ 5936335 h 6857996"/>
              <a:gd name="connsiteX320" fmla="*/ 1489846 w 12191993"/>
              <a:gd name="connsiteY320" fmla="*/ 5936335 h 6857996"/>
              <a:gd name="connsiteX321" fmla="*/ 1437951 w 12191993"/>
              <a:gd name="connsiteY321" fmla="*/ 5980118 h 6857996"/>
              <a:gd name="connsiteX322" fmla="*/ 1527151 w 12191993"/>
              <a:gd name="connsiteY322" fmla="*/ 6062490 h 6857996"/>
              <a:gd name="connsiteX323" fmla="*/ 1489846 w 12191993"/>
              <a:gd name="connsiteY323" fmla="*/ 6092977 h 6857996"/>
              <a:gd name="connsiteX324" fmla="*/ 1439570 w 12191993"/>
              <a:gd name="connsiteY324" fmla="*/ 6072541 h 6857996"/>
              <a:gd name="connsiteX325" fmla="*/ 1430812 w 12191993"/>
              <a:gd name="connsiteY325" fmla="*/ 6082921 h 6857996"/>
              <a:gd name="connsiteX326" fmla="*/ 1489522 w 12191993"/>
              <a:gd name="connsiteY326" fmla="*/ 6106269 h 6857996"/>
              <a:gd name="connsiteX327" fmla="*/ 1541421 w 12191993"/>
              <a:gd name="connsiteY327" fmla="*/ 6062490 h 6857996"/>
              <a:gd name="connsiteX328" fmla="*/ 1452224 w 12191993"/>
              <a:gd name="connsiteY328" fmla="*/ 5979144 h 6857996"/>
              <a:gd name="connsiteX329" fmla="*/ 1488872 w 12191993"/>
              <a:gd name="connsiteY329" fmla="*/ 5949632 h 6857996"/>
              <a:gd name="connsiteX330" fmla="*/ 1529741 w 12191993"/>
              <a:gd name="connsiteY330" fmla="*/ 5964873 h 6857996"/>
              <a:gd name="connsiteX331" fmla="*/ 1537850 w 12191993"/>
              <a:gd name="connsiteY331" fmla="*/ 5953848 h 6857996"/>
              <a:gd name="connsiteX332" fmla="*/ 1489846 w 12191993"/>
              <a:gd name="connsiteY332" fmla="*/ 5936335 h 6857996"/>
              <a:gd name="connsiteX333" fmla="*/ 1352909 w 12191993"/>
              <a:gd name="connsiteY333" fmla="*/ 5936335 h 6857996"/>
              <a:gd name="connsiteX334" fmla="*/ 1284142 w 12191993"/>
              <a:gd name="connsiteY334" fmla="*/ 5982062 h 6857996"/>
              <a:gd name="connsiteX335" fmla="*/ 1283493 w 12191993"/>
              <a:gd name="connsiteY335" fmla="*/ 5982062 h 6857996"/>
              <a:gd name="connsiteX336" fmla="*/ 1284791 w 12191993"/>
              <a:gd name="connsiteY336" fmla="*/ 5968765 h 6857996"/>
              <a:gd name="connsiteX337" fmla="*/ 1284791 w 12191993"/>
              <a:gd name="connsiteY337" fmla="*/ 5940226 h 6857996"/>
              <a:gd name="connsiteX338" fmla="*/ 1271171 w 12191993"/>
              <a:gd name="connsiteY338" fmla="*/ 5940226 h 6857996"/>
              <a:gd name="connsiteX339" fmla="*/ 1271171 w 12191993"/>
              <a:gd name="connsiteY339" fmla="*/ 6102378 h 6857996"/>
              <a:gd name="connsiteX340" fmla="*/ 1284791 w 12191993"/>
              <a:gd name="connsiteY340" fmla="*/ 6102378 h 6857996"/>
              <a:gd name="connsiteX341" fmla="*/ 1284791 w 12191993"/>
              <a:gd name="connsiteY341" fmla="*/ 6023248 h 6857996"/>
              <a:gd name="connsiteX342" fmla="*/ 1287389 w 12191993"/>
              <a:gd name="connsiteY342" fmla="*/ 6001199 h 6857996"/>
              <a:gd name="connsiteX343" fmla="*/ 1352909 w 12191993"/>
              <a:gd name="connsiteY343" fmla="*/ 5949632 h 6857996"/>
              <a:gd name="connsiteX344" fmla="*/ 1392802 w 12191993"/>
              <a:gd name="connsiteY344" fmla="*/ 6004440 h 6857996"/>
              <a:gd name="connsiteX345" fmla="*/ 1392802 w 12191993"/>
              <a:gd name="connsiteY345" fmla="*/ 6102379 h 6857996"/>
              <a:gd name="connsiteX346" fmla="*/ 1406426 w 12191993"/>
              <a:gd name="connsiteY346" fmla="*/ 6102379 h 6857996"/>
              <a:gd name="connsiteX347" fmla="*/ 1406426 w 12191993"/>
              <a:gd name="connsiteY347" fmla="*/ 5999575 h 6857996"/>
              <a:gd name="connsiteX348" fmla="*/ 1352909 w 12191993"/>
              <a:gd name="connsiteY348" fmla="*/ 5936335 h 6857996"/>
              <a:gd name="connsiteX349" fmla="*/ 3474783 w 12191993"/>
              <a:gd name="connsiteY349" fmla="*/ 5934392 h 6857996"/>
              <a:gd name="connsiteX350" fmla="*/ 3413151 w 12191993"/>
              <a:gd name="connsiteY350" fmla="*/ 5972011 h 6857996"/>
              <a:gd name="connsiteX351" fmla="*/ 3412502 w 12191993"/>
              <a:gd name="connsiteY351" fmla="*/ 5972011 h 6857996"/>
              <a:gd name="connsiteX352" fmla="*/ 3413151 w 12191993"/>
              <a:gd name="connsiteY352" fmla="*/ 5960012 h 6857996"/>
              <a:gd name="connsiteX353" fmla="*/ 3413151 w 12191993"/>
              <a:gd name="connsiteY353" fmla="*/ 5938282 h 6857996"/>
              <a:gd name="connsiteX354" fmla="*/ 3382664 w 12191993"/>
              <a:gd name="connsiteY354" fmla="*/ 5938282 h 6857996"/>
              <a:gd name="connsiteX355" fmla="*/ 3382664 w 12191993"/>
              <a:gd name="connsiteY355" fmla="*/ 6102378 h 6857996"/>
              <a:gd name="connsiteX356" fmla="*/ 3414125 w 12191993"/>
              <a:gd name="connsiteY356" fmla="*/ 6102378 h 6857996"/>
              <a:gd name="connsiteX357" fmla="*/ 3414125 w 12191993"/>
              <a:gd name="connsiteY357" fmla="*/ 6025520 h 6857996"/>
              <a:gd name="connsiteX358" fmla="*/ 3416723 w 12191993"/>
              <a:gd name="connsiteY358" fmla="*/ 6003466 h 6857996"/>
              <a:gd name="connsiteX359" fmla="*/ 3468615 w 12191993"/>
              <a:gd name="connsiteY359" fmla="*/ 5963254 h 6857996"/>
              <a:gd name="connsiteX360" fmla="*/ 3499759 w 12191993"/>
              <a:gd name="connsiteY360" fmla="*/ 6004440 h 6857996"/>
              <a:gd name="connsiteX361" fmla="*/ 3499759 w 12191993"/>
              <a:gd name="connsiteY361" fmla="*/ 6102378 h 6857996"/>
              <a:gd name="connsiteX362" fmla="*/ 3531220 w 12191993"/>
              <a:gd name="connsiteY362" fmla="*/ 6102378 h 6857996"/>
              <a:gd name="connsiteX363" fmla="*/ 3531220 w 12191993"/>
              <a:gd name="connsiteY363" fmla="*/ 5997307 h 6857996"/>
              <a:gd name="connsiteX364" fmla="*/ 3474783 w 12191993"/>
              <a:gd name="connsiteY364" fmla="*/ 5934392 h 6857996"/>
              <a:gd name="connsiteX365" fmla="*/ 3717650 w 12191993"/>
              <a:gd name="connsiteY365" fmla="*/ 5934391 h 6857996"/>
              <a:gd name="connsiteX366" fmla="*/ 3658292 w 12191993"/>
              <a:gd name="connsiteY366" fmla="*/ 5981088 h 6857996"/>
              <a:gd name="connsiteX367" fmla="*/ 3742624 w 12191993"/>
              <a:gd name="connsiteY367" fmla="*/ 6058599 h 6857996"/>
              <a:gd name="connsiteX368" fmla="*/ 3715378 w 12191993"/>
              <a:gd name="connsiteY368" fmla="*/ 6079030 h 6857996"/>
              <a:gd name="connsiteX369" fmla="*/ 3668348 w 12191993"/>
              <a:gd name="connsiteY369" fmla="*/ 6059893 h 6857996"/>
              <a:gd name="connsiteX370" fmla="*/ 3653097 w 12191993"/>
              <a:gd name="connsiteY370" fmla="*/ 6082272 h 6857996"/>
              <a:gd name="connsiteX371" fmla="*/ 3715378 w 12191993"/>
              <a:gd name="connsiteY371" fmla="*/ 6106270 h 6857996"/>
              <a:gd name="connsiteX372" fmla="*/ 3774736 w 12191993"/>
              <a:gd name="connsiteY372" fmla="*/ 6058599 h 6857996"/>
              <a:gd name="connsiteX373" fmla="*/ 3690402 w 12191993"/>
              <a:gd name="connsiteY373" fmla="*/ 5981737 h 6857996"/>
              <a:gd name="connsiteX374" fmla="*/ 3717325 w 12191993"/>
              <a:gd name="connsiteY374" fmla="*/ 5961631 h 6857996"/>
              <a:gd name="connsiteX375" fmla="*/ 3757869 w 12191993"/>
              <a:gd name="connsiteY375" fmla="*/ 5976226 h 6857996"/>
              <a:gd name="connsiteX376" fmla="*/ 3770514 w 12191993"/>
              <a:gd name="connsiteY376" fmla="*/ 5952550 h 6857996"/>
              <a:gd name="connsiteX377" fmla="*/ 3717650 w 12191993"/>
              <a:gd name="connsiteY377" fmla="*/ 5934391 h 6857996"/>
              <a:gd name="connsiteX378" fmla="*/ 3285715 w 12191993"/>
              <a:gd name="connsiteY378" fmla="*/ 5934391 h 6857996"/>
              <a:gd name="connsiteX379" fmla="*/ 3203653 w 12191993"/>
              <a:gd name="connsiteY379" fmla="*/ 6020331 h 6857996"/>
              <a:gd name="connsiteX380" fmla="*/ 3290585 w 12191993"/>
              <a:gd name="connsiteY380" fmla="*/ 6106270 h 6857996"/>
              <a:gd name="connsiteX381" fmla="*/ 3354158 w 12191993"/>
              <a:gd name="connsiteY381" fmla="*/ 6082921 h 6857996"/>
              <a:gd name="connsiteX382" fmla="*/ 3341187 w 12191993"/>
              <a:gd name="connsiteY382" fmla="*/ 6059893 h 6857996"/>
              <a:gd name="connsiteX383" fmla="*/ 3292526 w 12191993"/>
              <a:gd name="connsiteY383" fmla="*/ 6079030 h 6857996"/>
              <a:gd name="connsiteX384" fmla="*/ 3236088 w 12191993"/>
              <a:gd name="connsiteY384" fmla="*/ 6024871 h 6857996"/>
              <a:gd name="connsiteX385" fmla="*/ 3355781 w 12191993"/>
              <a:gd name="connsiteY385" fmla="*/ 6024871 h 6857996"/>
              <a:gd name="connsiteX386" fmla="*/ 3356754 w 12191993"/>
              <a:gd name="connsiteY386" fmla="*/ 6011249 h 6857996"/>
              <a:gd name="connsiteX387" fmla="*/ 3285715 w 12191993"/>
              <a:gd name="connsiteY387" fmla="*/ 5934391 h 6857996"/>
              <a:gd name="connsiteX388" fmla="*/ 2953524 w 12191993"/>
              <a:gd name="connsiteY388" fmla="*/ 5934391 h 6857996"/>
              <a:gd name="connsiteX389" fmla="*/ 2892217 w 12191993"/>
              <a:gd name="connsiteY389" fmla="*/ 5953848 h 6857996"/>
              <a:gd name="connsiteX390" fmla="*/ 2905189 w 12191993"/>
              <a:gd name="connsiteY390" fmla="*/ 5976872 h 6857996"/>
              <a:gd name="connsiteX391" fmla="*/ 2950927 w 12191993"/>
              <a:gd name="connsiteY391" fmla="*/ 5960982 h 6857996"/>
              <a:gd name="connsiteX392" fmla="*/ 2986934 w 12191993"/>
              <a:gd name="connsiteY392" fmla="*/ 5996982 h 6857996"/>
              <a:gd name="connsiteX393" fmla="*/ 2986934 w 12191993"/>
              <a:gd name="connsiteY393" fmla="*/ 5999900 h 6857996"/>
              <a:gd name="connsiteX394" fmla="*/ 2979791 w 12191993"/>
              <a:gd name="connsiteY394" fmla="*/ 5999900 h 6857996"/>
              <a:gd name="connsiteX395" fmla="*/ 2880862 w 12191993"/>
              <a:gd name="connsiteY395" fmla="*/ 6056327 h 6857996"/>
              <a:gd name="connsiteX396" fmla="*/ 2936658 w 12191993"/>
              <a:gd name="connsiteY396" fmla="*/ 6106270 h 6857996"/>
              <a:gd name="connsiteX397" fmla="*/ 2989199 w 12191993"/>
              <a:gd name="connsiteY397" fmla="*/ 6073840 h 6857996"/>
              <a:gd name="connsiteX398" fmla="*/ 2989847 w 12191993"/>
              <a:gd name="connsiteY398" fmla="*/ 6073840 h 6857996"/>
              <a:gd name="connsiteX399" fmla="*/ 2989199 w 12191993"/>
              <a:gd name="connsiteY399" fmla="*/ 6086813 h 6857996"/>
              <a:gd name="connsiteX400" fmla="*/ 2989199 w 12191993"/>
              <a:gd name="connsiteY400" fmla="*/ 6102379 h 6857996"/>
              <a:gd name="connsiteX401" fmla="*/ 3018394 w 12191993"/>
              <a:gd name="connsiteY401" fmla="*/ 6102379 h 6857996"/>
              <a:gd name="connsiteX402" fmla="*/ 3018394 w 12191993"/>
              <a:gd name="connsiteY402" fmla="*/ 5998601 h 6857996"/>
              <a:gd name="connsiteX403" fmla="*/ 2953524 w 12191993"/>
              <a:gd name="connsiteY403" fmla="*/ 5934391 h 6857996"/>
              <a:gd name="connsiteX404" fmla="*/ 2796867 w 12191993"/>
              <a:gd name="connsiteY404" fmla="*/ 5934391 h 6857996"/>
              <a:gd name="connsiteX405" fmla="*/ 2741721 w 12191993"/>
              <a:gd name="connsiteY405" fmla="*/ 5964227 h 6857996"/>
              <a:gd name="connsiteX406" fmla="*/ 2741072 w 12191993"/>
              <a:gd name="connsiteY406" fmla="*/ 5964227 h 6857996"/>
              <a:gd name="connsiteX407" fmla="*/ 2741721 w 12191993"/>
              <a:gd name="connsiteY407" fmla="*/ 5952224 h 6857996"/>
              <a:gd name="connsiteX408" fmla="*/ 2741721 w 12191993"/>
              <a:gd name="connsiteY408" fmla="*/ 5938282 h 6857996"/>
              <a:gd name="connsiteX409" fmla="*/ 2712857 w 12191993"/>
              <a:gd name="connsiteY409" fmla="*/ 5938282 h 6857996"/>
              <a:gd name="connsiteX410" fmla="*/ 2712857 w 12191993"/>
              <a:gd name="connsiteY410" fmla="*/ 6167243 h 6857996"/>
              <a:gd name="connsiteX411" fmla="*/ 2744318 w 12191993"/>
              <a:gd name="connsiteY411" fmla="*/ 6167243 h 6857996"/>
              <a:gd name="connsiteX412" fmla="*/ 2744318 w 12191993"/>
              <a:gd name="connsiteY412" fmla="*/ 6093620 h 6857996"/>
              <a:gd name="connsiteX413" fmla="*/ 2743669 w 12191993"/>
              <a:gd name="connsiteY413" fmla="*/ 6079354 h 6857996"/>
              <a:gd name="connsiteX414" fmla="*/ 2744318 w 12191993"/>
              <a:gd name="connsiteY414" fmla="*/ 6079354 h 6857996"/>
              <a:gd name="connsiteX415" fmla="*/ 2794595 w 12191993"/>
              <a:gd name="connsiteY415" fmla="*/ 6106269 h 6857996"/>
              <a:gd name="connsiteX416" fmla="*/ 2868873 w 12191993"/>
              <a:gd name="connsiteY416" fmla="*/ 6020330 h 6857996"/>
              <a:gd name="connsiteX417" fmla="*/ 2796867 w 12191993"/>
              <a:gd name="connsiteY417" fmla="*/ 5934391 h 6857996"/>
              <a:gd name="connsiteX418" fmla="*/ 3568802 w 12191993"/>
              <a:gd name="connsiteY418" fmla="*/ 5893205 h 6857996"/>
              <a:gd name="connsiteX419" fmla="*/ 3568802 w 12191993"/>
              <a:gd name="connsiteY419" fmla="*/ 5940551 h 6857996"/>
              <a:gd name="connsiteX420" fmla="*/ 3546424 w 12191993"/>
              <a:gd name="connsiteY420" fmla="*/ 5940551 h 6857996"/>
              <a:gd name="connsiteX421" fmla="*/ 3546424 w 12191993"/>
              <a:gd name="connsiteY421" fmla="*/ 5965847 h 6857996"/>
              <a:gd name="connsiteX422" fmla="*/ 3567829 w 12191993"/>
              <a:gd name="connsiteY422" fmla="*/ 5965847 h 6857996"/>
              <a:gd name="connsiteX423" fmla="*/ 3567829 w 12191993"/>
              <a:gd name="connsiteY423" fmla="*/ 6042385 h 6857996"/>
              <a:gd name="connsiteX424" fmla="*/ 3630758 w 12191993"/>
              <a:gd name="connsiteY424" fmla="*/ 6103676 h 6857996"/>
              <a:gd name="connsiteX425" fmla="*/ 3641789 w 12191993"/>
              <a:gd name="connsiteY425" fmla="*/ 6103027 h 6857996"/>
              <a:gd name="connsiteX426" fmla="*/ 3641789 w 12191993"/>
              <a:gd name="connsiteY426" fmla="*/ 6075138 h 6857996"/>
              <a:gd name="connsiteX427" fmla="*/ 3634322 w 12191993"/>
              <a:gd name="connsiteY427" fmla="*/ 6075788 h 6857996"/>
              <a:gd name="connsiteX428" fmla="*/ 3599298 w 12191993"/>
              <a:gd name="connsiteY428" fmla="*/ 6038817 h 6857996"/>
              <a:gd name="connsiteX429" fmla="*/ 3599298 w 12191993"/>
              <a:gd name="connsiteY429" fmla="*/ 5965847 h 6857996"/>
              <a:gd name="connsiteX430" fmla="*/ 3638867 w 12191993"/>
              <a:gd name="connsiteY430" fmla="*/ 5965847 h 6857996"/>
              <a:gd name="connsiteX431" fmla="*/ 3638867 w 12191993"/>
              <a:gd name="connsiteY431" fmla="*/ 5940551 h 6857996"/>
              <a:gd name="connsiteX432" fmla="*/ 3599298 w 12191993"/>
              <a:gd name="connsiteY432" fmla="*/ 5940551 h 6857996"/>
              <a:gd name="connsiteX433" fmla="*/ 3599298 w 12191993"/>
              <a:gd name="connsiteY433" fmla="*/ 5893205 h 6857996"/>
              <a:gd name="connsiteX434" fmla="*/ 3055985 w 12191993"/>
              <a:gd name="connsiteY434" fmla="*/ 5893205 h 6857996"/>
              <a:gd name="connsiteX435" fmla="*/ 3055985 w 12191993"/>
              <a:gd name="connsiteY435" fmla="*/ 5940551 h 6857996"/>
              <a:gd name="connsiteX436" fmla="*/ 3033606 w 12191993"/>
              <a:gd name="connsiteY436" fmla="*/ 5940551 h 6857996"/>
              <a:gd name="connsiteX437" fmla="*/ 3033606 w 12191993"/>
              <a:gd name="connsiteY437" fmla="*/ 5965847 h 6857996"/>
              <a:gd name="connsiteX438" fmla="*/ 3055012 w 12191993"/>
              <a:gd name="connsiteY438" fmla="*/ 5965847 h 6857996"/>
              <a:gd name="connsiteX439" fmla="*/ 3055012 w 12191993"/>
              <a:gd name="connsiteY439" fmla="*/ 6042385 h 6857996"/>
              <a:gd name="connsiteX440" fmla="*/ 3117934 w 12191993"/>
              <a:gd name="connsiteY440" fmla="*/ 6103676 h 6857996"/>
              <a:gd name="connsiteX441" fmla="*/ 3128964 w 12191993"/>
              <a:gd name="connsiteY441" fmla="*/ 6103027 h 6857996"/>
              <a:gd name="connsiteX442" fmla="*/ 3128964 w 12191993"/>
              <a:gd name="connsiteY442" fmla="*/ 6075138 h 6857996"/>
              <a:gd name="connsiteX443" fmla="*/ 3121505 w 12191993"/>
              <a:gd name="connsiteY443" fmla="*/ 6075788 h 6857996"/>
              <a:gd name="connsiteX444" fmla="*/ 3086473 w 12191993"/>
              <a:gd name="connsiteY444" fmla="*/ 6038817 h 6857996"/>
              <a:gd name="connsiteX445" fmla="*/ 3086473 w 12191993"/>
              <a:gd name="connsiteY445" fmla="*/ 5965847 h 6857996"/>
              <a:gd name="connsiteX446" fmla="*/ 3126043 w 12191993"/>
              <a:gd name="connsiteY446" fmla="*/ 5965847 h 6857996"/>
              <a:gd name="connsiteX447" fmla="*/ 3126043 w 12191993"/>
              <a:gd name="connsiteY447" fmla="*/ 5940551 h 6857996"/>
              <a:gd name="connsiteX448" fmla="*/ 3086473 w 12191993"/>
              <a:gd name="connsiteY448" fmla="*/ 5940551 h 6857996"/>
              <a:gd name="connsiteX449" fmla="*/ 3086473 w 12191993"/>
              <a:gd name="connsiteY449" fmla="*/ 5893205 h 6857996"/>
              <a:gd name="connsiteX450" fmla="*/ 2318901 w 12191993"/>
              <a:gd name="connsiteY450" fmla="*/ 5875367 h 6857996"/>
              <a:gd name="connsiteX451" fmla="*/ 2318901 w 12191993"/>
              <a:gd name="connsiteY451" fmla="*/ 6102378 h 6857996"/>
              <a:gd name="connsiteX452" fmla="*/ 2332529 w 12191993"/>
              <a:gd name="connsiteY452" fmla="*/ 6102378 h 6857996"/>
              <a:gd name="connsiteX453" fmla="*/ 2332529 w 12191993"/>
              <a:gd name="connsiteY453" fmla="*/ 6083895 h 6857996"/>
              <a:gd name="connsiteX454" fmla="*/ 2331230 w 12191993"/>
              <a:gd name="connsiteY454" fmla="*/ 6069624 h 6857996"/>
              <a:gd name="connsiteX455" fmla="*/ 2331880 w 12191993"/>
              <a:gd name="connsiteY455" fmla="*/ 6069624 h 6857996"/>
              <a:gd name="connsiteX456" fmla="*/ 2387992 w 12191993"/>
              <a:gd name="connsiteY456" fmla="*/ 6106270 h 6857996"/>
              <a:gd name="connsiteX457" fmla="*/ 2460646 w 12191993"/>
              <a:gd name="connsiteY457" fmla="*/ 6021305 h 6857996"/>
              <a:gd name="connsiteX458" fmla="*/ 2390589 w 12191993"/>
              <a:gd name="connsiteY458" fmla="*/ 5936335 h 6857996"/>
              <a:gd name="connsiteX459" fmla="*/ 2331880 w 12191993"/>
              <a:gd name="connsiteY459" fmla="*/ 5972980 h 6857996"/>
              <a:gd name="connsiteX460" fmla="*/ 2331230 w 12191993"/>
              <a:gd name="connsiteY460" fmla="*/ 5972980 h 6857996"/>
              <a:gd name="connsiteX461" fmla="*/ 2332529 w 12191993"/>
              <a:gd name="connsiteY461" fmla="*/ 5959687 h 6857996"/>
              <a:gd name="connsiteX462" fmla="*/ 2332529 w 12191993"/>
              <a:gd name="connsiteY462" fmla="*/ 5875367 h 6857996"/>
              <a:gd name="connsiteX463" fmla="*/ 2171335 w 12191993"/>
              <a:gd name="connsiteY463" fmla="*/ 5875367 h 6857996"/>
              <a:gd name="connsiteX464" fmla="*/ 2171335 w 12191993"/>
              <a:gd name="connsiteY464" fmla="*/ 5959687 h 6857996"/>
              <a:gd name="connsiteX465" fmla="*/ 2172633 w 12191993"/>
              <a:gd name="connsiteY465" fmla="*/ 5972980 h 6857996"/>
              <a:gd name="connsiteX466" fmla="*/ 2171984 w 12191993"/>
              <a:gd name="connsiteY466" fmla="*/ 5972980 h 6857996"/>
              <a:gd name="connsiteX467" fmla="*/ 2115863 w 12191993"/>
              <a:gd name="connsiteY467" fmla="*/ 5936335 h 6857996"/>
              <a:gd name="connsiteX468" fmla="*/ 2043207 w 12191993"/>
              <a:gd name="connsiteY468" fmla="*/ 6021305 h 6857996"/>
              <a:gd name="connsiteX469" fmla="*/ 2113275 w 12191993"/>
              <a:gd name="connsiteY469" fmla="*/ 6106270 h 6857996"/>
              <a:gd name="connsiteX470" fmla="*/ 2171984 w 12191993"/>
              <a:gd name="connsiteY470" fmla="*/ 6069624 h 6857996"/>
              <a:gd name="connsiteX471" fmla="*/ 2172633 w 12191993"/>
              <a:gd name="connsiteY471" fmla="*/ 6069624 h 6857996"/>
              <a:gd name="connsiteX472" fmla="*/ 2171335 w 12191993"/>
              <a:gd name="connsiteY472" fmla="*/ 6081948 h 6857996"/>
              <a:gd name="connsiteX473" fmla="*/ 2171335 w 12191993"/>
              <a:gd name="connsiteY473" fmla="*/ 6102378 h 6857996"/>
              <a:gd name="connsiteX474" fmla="*/ 2184955 w 12191993"/>
              <a:gd name="connsiteY474" fmla="*/ 6102378 h 6857996"/>
              <a:gd name="connsiteX475" fmla="*/ 2184955 w 12191993"/>
              <a:gd name="connsiteY475" fmla="*/ 5875367 h 6857996"/>
              <a:gd name="connsiteX476" fmla="*/ 1743547 w 12191993"/>
              <a:gd name="connsiteY476" fmla="*/ 5875367 h 6857996"/>
              <a:gd name="connsiteX477" fmla="*/ 1743547 w 12191993"/>
              <a:gd name="connsiteY477" fmla="*/ 5899040 h 6857996"/>
              <a:gd name="connsiteX478" fmla="*/ 1759765 w 12191993"/>
              <a:gd name="connsiteY478" fmla="*/ 5899040 h 6857996"/>
              <a:gd name="connsiteX479" fmla="*/ 1759765 w 12191993"/>
              <a:gd name="connsiteY479" fmla="*/ 5875367 h 6857996"/>
              <a:gd name="connsiteX480" fmla="*/ 1209673 w 12191993"/>
              <a:gd name="connsiteY480" fmla="*/ 5875367 h 6857996"/>
              <a:gd name="connsiteX481" fmla="*/ 1209673 w 12191993"/>
              <a:gd name="connsiteY481" fmla="*/ 6102378 h 6857996"/>
              <a:gd name="connsiteX482" fmla="*/ 1223622 w 12191993"/>
              <a:gd name="connsiteY482" fmla="*/ 6102378 h 6857996"/>
              <a:gd name="connsiteX483" fmla="*/ 1223622 w 12191993"/>
              <a:gd name="connsiteY483" fmla="*/ 5875367 h 6857996"/>
              <a:gd name="connsiteX484" fmla="*/ 740045 w 12191993"/>
              <a:gd name="connsiteY484" fmla="*/ 5875367 h 6857996"/>
              <a:gd name="connsiteX485" fmla="*/ 982628 w 12191993"/>
              <a:gd name="connsiteY485" fmla="*/ 6117904 h 6857996"/>
              <a:gd name="connsiteX486" fmla="*/ 982620 w 12191993"/>
              <a:gd name="connsiteY486" fmla="*/ 5875367 h 6857996"/>
              <a:gd name="connsiteX487" fmla="*/ 407989 w 12191993"/>
              <a:gd name="connsiteY487" fmla="*/ 5875366 h 6857996"/>
              <a:gd name="connsiteX488" fmla="*/ 407989 w 12191993"/>
              <a:gd name="connsiteY488" fmla="*/ 6117901 h 6857996"/>
              <a:gd name="connsiteX489" fmla="*/ 650560 w 12191993"/>
              <a:gd name="connsiteY489" fmla="*/ 5875366 h 6857996"/>
              <a:gd name="connsiteX490" fmla="*/ 693449 w 12191993"/>
              <a:gd name="connsiteY490" fmla="*/ 5875365 h 6857996"/>
              <a:gd name="connsiteX491" fmla="*/ 693449 w 12191993"/>
              <a:gd name="connsiteY491" fmla="*/ 6106201 h 6857996"/>
              <a:gd name="connsiteX492" fmla="*/ 685251 w 12191993"/>
              <a:gd name="connsiteY492" fmla="*/ 6106201 h 6857996"/>
              <a:gd name="connsiteX493" fmla="*/ 685251 w 12191993"/>
              <a:gd name="connsiteY493" fmla="*/ 6178022 h 6857996"/>
              <a:gd name="connsiteX494" fmla="*/ 655495 w 12191993"/>
              <a:gd name="connsiteY494" fmla="*/ 6178022 h 6857996"/>
              <a:gd name="connsiteX495" fmla="*/ 655495 w 12191993"/>
              <a:gd name="connsiteY495" fmla="*/ 6106201 h 6857996"/>
              <a:gd name="connsiteX496" fmla="*/ 617524 w 12191993"/>
              <a:gd name="connsiteY496" fmla="*/ 6106201 h 6857996"/>
              <a:gd name="connsiteX497" fmla="*/ 617524 w 12191993"/>
              <a:gd name="connsiteY497" fmla="*/ 6219053 h 6857996"/>
              <a:gd name="connsiteX498" fmla="*/ 693449 w 12191993"/>
              <a:gd name="connsiteY498" fmla="*/ 6219053 h 6857996"/>
              <a:gd name="connsiteX499" fmla="*/ 693449 w 12191993"/>
              <a:gd name="connsiteY499" fmla="*/ 6449904 h 6857996"/>
              <a:gd name="connsiteX500" fmla="*/ 697158 w 12191993"/>
              <a:gd name="connsiteY500" fmla="*/ 6449904 h 6857996"/>
              <a:gd name="connsiteX501" fmla="*/ 697158 w 12191993"/>
              <a:gd name="connsiteY501" fmla="*/ 6219053 h 6857996"/>
              <a:gd name="connsiteX502" fmla="*/ 726288 w 12191993"/>
              <a:gd name="connsiteY502" fmla="*/ 6219053 h 6857996"/>
              <a:gd name="connsiteX503" fmla="*/ 726288 w 12191993"/>
              <a:gd name="connsiteY503" fmla="*/ 6106201 h 6857996"/>
              <a:gd name="connsiteX504" fmla="*/ 697158 w 12191993"/>
              <a:gd name="connsiteY504" fmla="*/ 6106201 h 6857996"/>
              <a:gd name="connsiteX505" fmla="*/ 697154 w 12191993"/>
              <a:gd name="connsiteY505" fmla="*/ 5875365 h 6857996"/>
              <a:gd name="connsiteX506" fmla="*/ 3146995 w 12191993"/>
              <a:gd name="connsiteY506" fmla="*/ 5873419 h 6857996"/>
              <a:gd name="connsiteX507" fmla="*/ 3146995 w 12191993"/>
              <a:gd name="connsiteY507" fmla="*/ 5905528 h 6857996"/>
              <a:gd name="connsiteX508" fmla="*/ 3178780 w 12191993"/>
              <a:gd name="connsiteY508" fmla="*/ 5905528 h 6857996"/>
              <a:gd name="connsiteX509" fmla="*/ 3178780 w 12191993"/>
              <a:gd name="connsiteY509" fmla="*/ 5873419 h 6857996"/>
              <a:gd name="connsiteX510" fmla="*/ 5074981 w 12191993"/>
              <a:gd name="connsiteY510" fmla="*/ 3974428 h 6857996"/>
              <a:gd name="connsiteX511" fmla="*/ 7530588 w 12191993"/>
              <a:gd name="connsiteY511" fmla="*/ 6429546 h 6857996"/>
              <a:gd name="connsiteX512" fmla="*/ 5074981 w 12191993"/>
              <a:gd name="connsiteY512" fmla="*/ 6429546 h 6857996"/>
              <a:gd name="connsiteX513" fmla="*/ 11122964 w 12191993"/>
              <a:gd name="connsiteY513" fmla="*/ 3974190 h 6857996"/>
              <a:gd name="connsiteX514" fmla="*/ 11122964 w 12191993"/>
              <a:gd name="connsiteY514" fmla="*/ 6429463 h 6857996"/>
              <a:gd name="connsiteX515" fmla="*/ 8666920 w 12191993"/>
              <a:gd name="connsiteY515" fmla="*/ 6429463 h 6857996"/>
              <a:gd name="connsiteX516" fmla="*/ 11122964 w 12191993"/>
              <a:gd name="connsiteY516" fmla="*/ 3974190 h 6857996"/>
              <a:gd name="connsiteX517" fmla="*/ 5074885 w 12191993"/>
              <a:gd name="connsiteY517" fmla="*/ 3877086 h 6857996"/>
              <a:gd name="connsiteX518" fmla="*/ 5058713 w 12191993"/>
              <a:gd name="connsiteY518" fmla="*/ 3878325 h 6857996"/>
              <a:gd name="connsiteX519" fmla="*/ 5058713 w 12191993"/>
              <a:gd name="connsiteY519" fmla="*/ 6445810 h 6857996"/>
              <a:gd name="connsiteX520" fmla="*/ 7626641 w 12191993"/>
              <a:gd name="connsiteY520" fmla="*/ 6445810 h 6857996"/>
              <a:gd name="connsiteX521" fmla="*/ 7627884 w 12191993"/>
              <a:gd name="connsiteY521" fmla="*/ 6429641 h 6857996"/>
              <a:gd name="connsiteX522" fmla="*/ 5074885 w 12191993"/>
              <a:gd name="connsiteY522" fmla="*/ 3877086 h 6857996"/>
              <a:gd name="connsiteX523" fmla="*/ 11123059 w 12191993"/>
              <a:gd name="connsiteY523" fmla="*/ 3876995 h 6857996"/>
              <a:gd name="connsiteX524" fmla="*/ 8569625 w 12191993"/>
              <a:gd name="connsiteY524" fmla="*/ 6429558 h 6857996"/>
              <a:gd name="connsiteX525" fmla="*/ 8570868 w 12191993"/>
              <a:gd name="connsiteY525" fmla="*/ 6445727 h 6857996"/>
              <a:gd name="connsiteX526" fmla="*/ 11139231 w 12191993"/>
              <a:gd name="connsiteY526" fmla="*/ 6445727 h 6857996"/>
              <a:gd name="connsiteX527" fmla="*/ 11139231 w 12191993"/>
              <a:gd name="connsiteY527" fmla="*/ 3878238 h 6857996"/>
              <a:gd name="connsiteX528" fmla="*/ 5074862 w 12191993"/>
              <a:gd name="connsiteY528" fmla="*/ 382592 h 6857996"/>
              <a:gd name="connsiteX529" fmla="*/ 7530485 w 12191993"/>
              <a:gd name="connsiteY529" fmla="*/ 382592 h 6857996"/>
              <a:gd name="connsiteX530" fmla="*/ 5074862 w 12191993"/>
              <a:gd name="connsiteY530" fmla="*/ 2838143 h 6857996"/>
              <a:gd name="connsiteX531" fmla="*/ 8666781 w 12191993"/>
              <a:gd name="connsiteY531" fmla="*/ 382485 h 6857996"/>
              <a:gd name="connsiteX532" fmla="*/ 11122821 w 12191993"/>
              <a:gd name="connsiteY532" fmla="*/ 382485 h 6857996"/>
              <a:gd name="connsiteX533" fmla="*/ 11122821 w 12191993"/>
              <a:gd name="connsiteY533" fmla="*/ 2838196 h 6857996"/>
              <a:gd name="connsiteX534" fmla="*/ 8666781 w 12191993"/>
              <a:gd name="connsiteY534" fmla="*/ 382485 h 6857996"/>
              <a:gd name="connsiteX535" fmla="*/ 5058594 w 12191993"/>
              <a:gd name="connsiteY535" fmla="*/ 366328 h 6857996"/>
              <a:gd name="connsiteX536" fmla="*/ 5058594 w 12191993"/>
              <a:gd name="connsiteY536" fmla="*/ 2934247 h 6857996"/>
              <a:gd name="connsiteX537" fmla="*/ 5074766 w 12191993"/>
              <a:gd name="connsiteY537" fmla="*/ 2935488 h 6857996"/>
              <a:gd name="connsiteX538" fmla="*/ 7627761 w 12191993"/>
              <a:gd name="connsiteY538" fmla="*/ 382497 h 6857996"/>
              <a:gd name="connsiteX539" fmla="*/ 7626518 w 12191993"/>
              <a:gd name="connsiteY539" fmla="*/ 366328 h 6857996"/>
              <a:gd name="connsiteX540" fmla="*/ 8570721 w 12191993"/>
              <a:gd name="connsiteY540" fmla="*/ 366221 h 6857996"/>
              <a:gd name="connsiteX541" fmla="*/ 8569478 w 12191993"/>
              <a:gd name="connsiteY541" fmla="*/ 382390 h 6857996"/>
              <a:gd name="connsiteX542" fmla="*/ 11122916 w 12191993"/>
              <a:gd name="connsiteY542" fmla="*/ 2935381 h 6857996"/>
              <a:gd name="connsiteX543" fmla="*/ 11139088 w 12191993"/>
              <a:gd name="connsiteY543" fmla="*/ 2934139 h 6857996"/>
              <a:gd name="connsiteX544" fmla="*/ 11139088 w 12191993"/>
              <a:gd name="connsiteY544" fmla="*/ 366221 h 6857996"/>
              <a:gd name="connsiteX545" fmla="*/ 0 w 12191993"/>
              <a:gd name="connsiteY545" fmla="*/ 0 h 6857996"/>
              <a:gd name="connsiteX546" fmla="*/ 12191993 w 12191993"/>
              <a:gd name="connsiteY546" fmla="*/ 0 h 6857996"/>
              <a:gd name="connsiteX547" fmla="*/ 12191993 w 12191993"/>
              <a:gd name="connsiteY547" fmla="*/ 6857996 h 6857996"/>
              <a:gd name="connsiteX548" fmla="*/ 0 w 12191993"/>
              <a:gd name="connsiteY548" fmla="*/ 6857996 h 6857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Lst>
            <a:rect l="l" t="t" r="r" b="b"/>
            <a:pathLst>
              <a:path w="12191993" h="6857996">
                <a:moveTo>
                  <a:pt x="3578903" y="6416506"/>
                </a:moveTo>
                <a:lnTo>
                  <a:pt x="3578903" y="6449909"/>
                </a:lnTo>
                <a:lnTo>
                  <a:pt x="3611987" y="6449909"/>
                </a:lnTo>
                <a:lnTo>
                  <a:pt x="3611987" y="6416506"/>
                </a:lnTo>
                <a:close/>
                <a:moveTo>
                  <a:pt x="3481994" y="6306894"/>
                </a:moveTo>
                <a:cubicBezTo>
                  <a:pt x="3503073" y="6306894"/>
                  <a:pt x="3520589" y="6320511"/>
                  <a:pt x="3521564" y="6348729"/>
                </a:cubicBezTo>
                <a:lnTo>
                  <a:pt x="3433990" y="6348729"/>
                </a:lnTo>
                <a:cubicBezTo>
                  <a:pt x="3438527" y="6321810"/>
                  <a:pt x="3457992" y="6306894"/>
                  <a:pt x="3481994" y="6306894"/>
                </a:cubicBezTo>
                <a:close/>
                <a:moveTo>
                  <a:pt x="2971631" y="6306894"/>
                </a:moveTo>
                <a:cubicBezTo>
                  <a:pt x="2992711" y="6306894"/>
                  <a:pt x="3010227" y="6320511"/>
                  <a:pt x="3011201" y="6348729"/>
                </a:cubicBezTo>
                <a:lnTo>
                  <a:pt x="2923627" y="6348729"/>
                </a:lnTo>
                <a:cubicBezTo>
                  <a:pt x="2928165" y="6321810"/>
                  <a:pt x="2947629" y="6306894"/>
                  <a:pt x="2971631" y="6306894"/>
                </a:cubicBezTo>
                <a:close/>
                <a:moveTo>
                  <a:pt x="2218851" y="6297163"/>
                </a:moveTo>
                <a:cubicBezTo>
                  <a:pt x="2251936" y="6297163"/>
                  <a:pt x="2275288" y="6325052"/>
                  <a:pt x="2275288" y="6368835"/>
                </a:cubicBezTo>
                <a:cubicBezTo>
                  <a:pt x="2275288" y="6414238"/>
                  <a:pt x="2249338" y="6440507"/>
                  <a:pt x="2217552" y="6440507"/>
                </a:cubicBezTo>
                <a:cubicBezTo>
                  <a:pt x="2179598" y="6440507"/>
                  <a:pt x="2161116" y="6405156"/>
                  <a:pt x="2161116" y="6369160"/>
                </a:cubicBezTo>
                <a:cubicBezTo>
                  <a:pt x="2161116" y="6318243"/>
                  <a:pt x="2189006" y="6297163"/>
                  <a:pt x="2218851" y="6297163"/>
                </a:cubicBezTo>
                <a:close/>
                <a:moveTo>
                  <a:pt x="1782667" y="6296514"/>
                </a:moveTo>
                <a:cubicBezTo>
                  <a:pt x="1809586" y="6296514"/>
                  <a:pt x="1833268" y="6314352"/>
                  <a:pt x="1834887" y="6353915"/>
                </a:cubicBezTo>
                <a:lnTo>
                  <a:pt x="1719416" y="6353915"/>
                </a:lnTo>
                <a:cubicBezTo>
                  <a:pt x="1725256" y="6315975"/>
                  <a:pt x="1752825" y="6296514"/>
                  <a:pt x="1782667" y="6296514"/>
                </a:cubicBezTo>
                <a:close/>
                <a:moveTo>
                  <a:pt x="2293320" y="6287757"/>
                </a:moveTo>
                <a:lnTo>
                  <a:pt x="2360462" y="6448936"/>
                </a:lnTo>
                <a:lnTo>
                  <a:pt x="2348783" y="6475855"/>
                </a:lnTo>
                <a:cubicBezTo>
                  <a:pt x="2342297" y="6491096"/>
                  <a:pt x="2332565" y="6505042"/>
                  <a:pt x="2316996" y="6505042"/>
                </a:cubicBezTo>
                <a:cubicBezTo>
                  <a:pt x="2309639" y="6504634"/>
                  <a:pt x="2302598" y="6501910"/>
                  <a:pt x="2296883" y="6497259"/>
                </a:cubicBezTo>
                <a:lnTo>
                  <a:pt x="2290722" y="6508934"/>
                </a:lnTo>
                <a:cubicBezTo>
                  <a:pt x="2298267" y="6514722"/>
                  <a:pt x="2307487" y="6517908"/>
                  <a:pt x="2316996" y="6518015"/>
                </a:cubicBezTo>
                <a:cubicBezTo>
                  <a:pt x="2337427" y="6518015"/>
                  <a:pt x="2351055" y="6504717"/>
                  <a:pt x="2358190" y="6487853"/>
                </a:cubicBezTo>
                <a:lnTo>
                  <a:pt x="2441550" y="6287757"/>
                </a:lnTo>
                <a:lnTo>
                  <a:pt x="2426956" y="6287757"/>
                </a:lnTo>
                <a:lnTo>
                  <a:pt x="2373434" y="6417155"/>
                </a:lnTo>
                <a:cubicBezTo>
                  <a:pt x="2370187" y="6424938"/>
                  <a:pt x="2367922" y="6432396"/>
                  <a:pt x="2367922" y="6432396"/>
                </a:cubicBezTo>
                <a:lnTo>
                  <a:pt x="2367272" y="6432396"/>
                </a:lnTo>
                <a:cubicBezTo>
                  <a:pt x="2367272" y="6432396"/>
                  <a:pt x="2364675" y="6424938"/>
                  <a:pt x="2361429" y="6417155"/>
                </a:cubicBezTo>
                <a:lnTo>
                  <a:pt x="2307914" y="6287757"/>
                </a:lnTo>
                <a:close/>
                <a:moveTo>
                  <a:pt x="1560161" y="6287757"/>
                </a:moveTo>
                <a:lnTo>
                  <a:pt x="1624058" y="6449909"/>
                </a:lnTo>
                <a:lnTo>
                  <a:pt x="1637032" y="6449909"/>
                </a:lnTo>
                <a:lnTo>
                  <a:pt x="1700608" y="6287757"/>
                </a:lnTo>
                <a:lnTo>
                  <a:pt x="1686334" y="6287757"/>
                </a:lnTo>
                <a:lnTo>
                  <a:pt x="1636383" y="6414887"/>
                </a:lnTo>
                <a:cubicBezTo>
                  <a:pt x="1633465" y="6422669"/>
                  <a:pt x="1630868" y="6432396"/>
                  <a:pt x="1630868" y="6432396"/>
                </a:cubicBezTo>
                <a:lnTo>
                  <a:pt x="1630218" y="6432396"/>
                </a:lnTo>
                <a:cubicBezTo>
                  <a:pt x="1630218" y="6432396"/>
                  <a:pt x="1627629" y="6422669"/>
                  <a:pt x="1624707" y="6414887"/>
                </a:cubicBezTo>
                <a:lnTo>
                  <a:pt x="1574755" y="6287757"/>
                </a:lnTo>
                <a:close/>
                <a:moveTo>
                  <a:pt x="1526463" y="6287757"/>
                </a:moveTo>
                <a:lnTo>
                  <a:pt x="1526463" y="6449909"/>
                </a:lnTo>
                <a:lnTo>
                  <a:pt x="1540087" y="6449909"/>
                </a:lnTo>
                <a:lnTo>
                  <a:pt x="1540087" y="6287757"/>
                </a:lnTo>
                <a:close/>
                <a:moveTo>
                  <a:pt x="1496207" y="6286463"/>
                </a:moveTo>
                <a:cubicBezTo>
                  <a:pt x="1470580" y="6286463"/>
                  <a:pt x="1452419" y="6306894"/>
                  <a:pt x="1444311" y="6331866"/>
                </a:cubicBezTo>
                <a:lnTo>
                  <a:pt x="1443661" y="6331866"/>
                </a:lnTo>
                <a:cubicBezTo>
                  <a:pt x="1444529" y="6327486"/>
                  <a:pt x="1444964" y="6323032"/>
                  <a:pt x="1444960" y="6318568"/>
                </a:cubicBezTo>
                <a:lnTo>
                  <a:pt x="1444960" y="6287757"/>
                </a:lnTo>
                <a:lnTo>
                  <a:pt x="1431332" y="6287757"/>
                </a:lnTo>
                <a:lnTo>
                  <a:pt x="1431332" y="6449910"/>
                </a:lnTo>
                <a:lnTo>
                  <a:pt x="1444960" y="6449910"/>
                </a:lnTo>
                <a:lnTo>
                  <a:pt x="1444960" y="6379861"/>
                </a:lnTo>
                <a:cubicBezTo>
                  <a:pt x="1444867" y="6368331"/>
                  <a:pt x="1446506" y="6356852"/>
                  <a:pt x="1449821" y="6345808"/>
                </a:cubicBezTo>
                <a:cubicBezTo>
                  <a:pt x="1456956" y="6321810"/>
                  <a:pt x="1472850" y="6300406"/>
                  <a:pt x="1498150" y="6300406"/>
                </a:cubicBezTo>
                <a:cubicBezTo>
                  <a:pt x="1500648" y="6300445"/>
                  <a:pt x="1503141" y="6300662"/>
                  <a:pt x="1505609" y="6301055"/>
                </a:cubicBezTo>
                <a:lnTo>
                  <a:pt x="1505609" y="6287433"/>
                </a:lnTo>
                <a:cubicBezTo>
                  <a:pt x="1502511" y="6286819"/>
                  <a:pt x="1499364" y="6286494"/>
                  <a:pt x="1496207" y="6286463"/>
                </a:cubicBezTo>
                <a:close/>
                <a:moveTo>
                  <a:pt x="2833876" y="6285815"/>
                </a:moveTo>
                <a:lnTo>
                  <a:pt x="2833876" y="6449910"/>
                </a:lnTo>
                <a:lnTo>
                  <a:pt x="2865337" y="6449910"/>
                </a:lnTo>
                <a:lnTo>
                  <a:pt x="2865337" y="6285815"/>
                </a:lnTo>
                <a:close/>
                <a:moveTo>
                  <a:pt x="1962617" y="6283866"/>
                </a:moveTo>
                <a:cubicBezTo>
                  <a:pt x="1932589" y="6283915"/>
                  <a:pt x="1905505" y="6301924"/>
                  <a:pt x="1893850" y="6329593"/>
                </a:cubicBezTo>
                <a:lnTo>
                  <a:pt x="1893201" y="6329593"/>
                </a:lnTo>
                <a:cubicBezTo>
                  <a:pt x="1894069" y="6325214"/>
                  <a:pt x="1894504" y="6320760"/>
                  <a:pt x="1894499" y="6316296"/>
                </a:cubicBezTo>
                <a:lnTo>
                  <a:pt x="1894499" y="6287757"/>
                </a:lnTo>
                <a:lnTo>
                  <a:pt x="1880875" y="6287757"/>
                </a:lnTo>
                <a:lnTo>
                  <a:pt x="1880875" y="6449909"/>
                </a:lnTo>
                <a:lnTo>
                  <a:pt x="1894500" y="6449909"/>
                </a:lnTo>
                <a:lnTo>
                  <a:pt x="1894500" y="6370779"/>
                </a:lnTo>
                <a:cubicBezTo>
                  <a:pt x="1894344" y="6363345"/>
                  <a:pt x="1895217" y="6355925"/>
                  <a:pt x="1897093" y="6348730"/>
                </a:cubicBezTo>
                <a:cubicBezTo>
                  <a:pt x="1904831" y="6318751"/>
                  <a:pt x="1931655" y="6297641"/>
                  <a:pt x="1962617" y="6297163"/>
                </a:cubicBezTo>
                <a:cubicBezTo>
                  <a:pt x="1998940" y="6297163"/>
                  <a:pt x="2002511" y="6323758"/>
                  <a:pt x="2002511" y="6351972"/>
                </a:cubicBezTo>
                <a:lnTo>
                  <a:pt x="2002511" y="6449909"/>
                </a:lnTo>
                <a:lnTo>
                  <a:pt x="2016132" y="6449909"/>
                </a:lnTo>
                <a:lnTo>
                  <a:pt x="2016132" y="6347107"/>
                </a:lnTo>
                <a:cubicBezTo>
                  <a:pt x="2016132" y="6308837"/>
                  <a:pt x="2004784" y="6283866"/>
                  <a:pt x="1962617" y="6283866"/>
                </a:cubicBezTo>
                <a:close/>
                <a:moveTo>
                  <a:pt x="1782992" y="6283866"/>
                </a:moveTo>
                <a:cubicBezTo>
                  <a:pt x="1741473" y="6283866"/>
                  <a:pt x="1704172" y="6314352"/>
                  <a:pt x="1704172" y="6369160"/>
                </a:cubicBezTo>
                <a:cubicBezTo>
                  <a:pt x="1704172" y="6420722"/>
                  <a:pt x="1742119" y="6453801"/>
                  <a:pt x="1787858" y="6453801"/>
                </a:cubicBezTo>
                <a:cubicBezTo>
                  <a:pt x="1809172" y="6453549"/>
                  <a:pt x="1829677" y="6445602"/>
                  <a:pt x="1845593" y="6431427"/>
                </a:cubicBezTo>
                <a:lnTo>
                  <a:pt x="1838134" y="6420073"/>
                </a:lnTo>
                <a:cubicBezTo>
                  <a:pt x="1824600" y="6433054"/>
                  <a:pt x="1806612" y="6440366"/>
                  <a:pt x="1787858" y="6440508"/>
                </a:cubicBezTo>
                <a:cubicBezTo>
                  <a:pt x="1750232" y="6440508"/>
                  <a:pt x="1718442" y="6413589"/>
                  <a:pt x="1718442" y="6366563"/>
                </a:cubicBezTo>
                <a:lnTo>
                  <a:pt x="1848511" y="6366563"/>
                </a:lnTo>
                <a:cubicBezTo>
                  <a:pt x="1848511" y="6366563"/>
                  <a:pt x="1849161" y="6361377"/>
                  <a:pt x="1849161" y="6357807"/>
                </a:cubicBezTo>
                <a:cubicBezTo>
                  <a:pt x="1849161" y="6318568"/>
                  <a:pt x="1827103" y="6283866"/>
                  <a:pt x="1782992" y="6283866"/>
                </a:cubicBezTo>
                <a:close/>
                <a:moveTo>
                  <a:pt x="3482643" y="6281922"/>
                </a:moveTo>
                <a:cubicBezTo>
                  <a:pt x="3435929" y="6281922"/>
                  <a:pt x="3400581" y="6315650"/>
                  <a:pt x="3400581" y="6367862"/>
                </a:cubicBezTo>
                <a:cubicBezTo>
                  <a:pt x="3400581" y="6416506"/>
                  <a:pt x="3435929" y="6453801"/>
                  <a:pt x="3487504" y="6453801"/>
                </a:cubicBezTo>
                <a:cubicBezTo>
                  <a:pt x="3510804" y="6453844"/>
                  <a:pt x="3533352" y="6445564"/>
                  <a:pt x="3551085" y="6430452"/>
                </a:cubicBezTo>
                <a:lnTo>
                  <a:pt x="3538105" y="6407425"/>
                </a:lnTo>
                <a:cubicBezTo>
                  <a:pt x="3524564" y="6419193"/>
                  <a:pt x="3507385" y="6425950"/>
                  <a:pt x="3489453" y="6426561"/>
                </a:cubicBezTo>
                <a:cubicBezTo>
                  <a:pt x="3460256" y="6426561"/>
                  <a:pt x="3434638" y="6408398"/>
                  <a:pt x="3433015" y="6372402"/>
                </a:cubicBezTo>
                <a:lnTo>
                  <a:pt x="3552700" y="6372402"/>
                </a:lnTo>
                <a:cubicBezTo>
                  <a:pt x="3552700" y="6372402"/>
                  <a:pt x="3553673" y="6362996"/>
                  <a:pt x="3553673" y="6358780"/>
                </a:cubicBezTo>
                <a:cubicBezTo>
                  <a:pt x="3553673" y="6316295"/>
                  <a:pt x="3529023" y="6281922"/>
                  <a:pt x="3482643" y="6281922"/>
                </a:cubicBezTo>
                <a:close/>
                <a:moveTo>
                  <a:pt x="3328545" y="6281922"/>
                </a:moveTo>
                <a:cubicBezTo>
                  <a:pt x="3276969" y="6281922"/>
                  <a:pt x="3240639" y="6319217"/>
                  <a:pt x="3240639" y="6367862"/>
                </a:cubicBezTo>
                <a:cubicBezTo>
                  <a:pt x="3240639" y="6417155"/>
                  <a:pt x="3276969" y="6453801"/>
                  <a:pt x="3328545" y="6453801"/>
                </a:cubicBezTo>
                <a:cubicBezTo>
                  <a:pt x="3353053" y="6454342"/>
                  <a:pt x="3376720" y="6444855"/>
                  <a:pt x="3394065" y="6427535"/>
                </a:cubicBezTo>
                <a:lnTo>
                  <a:pt x="3381411" y="6404507"/>
                </a:lnTo>
                <a:cubicBezTo>
                  <a:pt x="3367999" y="6418078"/>
                  <a:pt x="3349882" y="6425974"/>
                  <a:pt x="3330810" y="6426561"/>
                </a:cubicBezTo>
                <a:cubicBezTo>
                  <a:pt x="3296751" y="6426561"/>
                  <a:pt x="3272749" y="6400940"/>
                  <a:pt x="3272749" y="6367536"/>
                </a:cubicBezTo>
                <a:cubicBezTo>
                  <a:pt x="3272749" y="6333809"/>
                  <a:pt x="3296751" y="6309162"/>
                  <a:pt x="3329836" y="6309162"/>
                </a:cubicBezTo>
                <a:cubicBezTo>
                  <a:pt x="3346822" y="6309400"/>
                  <a:pt x="3363072" y="6316132"/>
                  <a:pt x="3375250" y="6327973"/>
                </a:cubicBezTo>
                <a:lnTo>
                  <a:pt x="3390169" y="6305919"/>
                </a:lnTo>
                <a:cubicBezTo>
                  <a:pt x="3390169" y="6305919"/>
                  <a:pt x="3369738" y="6281922"/>
                  <a:pt x="3328545" y="6281922"/>
                </a:cubicBezTo>
                <a:close/>
                <a:moveTo>
                  <a:pt x="3161340" y="6281922"/>
                </a:moveTo>
                <a:cubicBezTo>
                  <a:pt x="3135204" y="6281326"/>
                  <a:pt x="3111121" y="6296026"/>
                  <a:pt x="3099708" y="6319542"/>
                </a:cubicBezTo>
                <a:lnTo>
                  <a:pt x="3099059" y="6319542"/>
                </a:lnTo>
                <a:cubicBezTo>
                  <a:pt x="3099484" y="6315556"/>
                  <a:pt x="3099701" y="6311551"/>
                  <a:pt x="3099708" y="6307543"/>
                </a:cubicBezTo>
                <a:lnTo>
                  <a:pt x="3099708" y="6285814"/>
                </a:lnTo>
                <a:lnTo>
                  <a:pt x="3069221" y="6285814"/>
                </a:lnTo>
                <a:lnTo>
                  <a:pt x="3069221" y="6449909"/>
                </a:lnTo>
                <a:lnTo>
                  <a:pt x="3100682" y="6449909"/>
                </a:lnTo>
                <a:lnTo>
                  <a:pt x="3100682" y="6373051"/>
                </a:lnTo>
                <a:cubicBezTo>
                  <a:pt x="3100487" y="6365614"/>
                  <a:pt x="3101362" y="6358186"/>
                  <a:pt x="3103280" y="6350997"/>
                </a:cubicBezTo>
                <a:cubicBezTo>
                  <a:pt x="3109426" y="6327359"/>
                  <a:pt x="3130744" y="6310840"/>
                  <a:pt x="3155171" y="6310785"/>
                </a:cubicBezTo>
                <a:cubicBezTo>
                  <a:pt x="3181446" y="6310785"/>
                  <a:pt x="3186316" y="6328944"/>
                  <a:pt x="3186316" y="6351971"/>
                </a:cubicBezTo>
                <a:lnTo>
                  <a:pt x="3186316" y="6449909"/>
                </a:lnTo>
                <a:lnTo>
                  <a:pt x="3217777" y="6449909"/>
                </a:lnTo>
                <a:lnTo>
                  <a:pt x="3217777" y="6344838"/>
                </a:lnTo>
                <a:cubicBezTo>
                  <a:pt x="3217777" y="6303003"/>
                  <a:pt x="3199936" y="6281922"/>
                  <a:pt x="3161340" y="6281922"/>
                </a:cubicBezTo>
                <a:close/>
                <a:moveTo>
                  <a:pt x="2972280" y="6281922"/>
                </a:moveTo>
                <a:cubicBezTo>
                  <a:pt x="2925568" y="6281922"/>
                  <a:pt x="2890218" y="6315650"/>
                  <a:pt x="2890218" y="6367862"/>
                </a:cubicBezTo>
                <a:cubicBezTo>
                  <a:pt x="2890218" y="6416506"/>
                  <a:pt x="2925568" y="6453801"/>
                  <a:pt x="2977142" y="6453801"/>
                </a:cubicBezTo>
                <a:cubicBezTo>
                  <a:pt x="3000442" y="6453844"/>
                  <a:pt x="3022990" y="6445564"/>
                  <a:pt x="3040722" y="6430452"/>
                </a:cubicBezTo>
                <a:lnTo>
                  <a:pt x="3027743" y="6407425"/>
                </a:lnTo>
                <a:cubicBezTo>
                  <a:pt x="3014201" y="6419193"/>
                  <a:pt x="2997023" y="6425950"/>
                  <a:pt x="2979090" y="6426561"/>
                </a:cubicBezTo>
                <a:cubicBezTo>
                  <a:pt x="2949894" y="6426561"/>
                  <a:pt x="2924277" y="6408398"/>
                  <a:pt x="2922653" y="6372402"/>
                </a:cubicBezTo>
                <a:lnTo>
                  <a:pt x="3042338" y="6372402"/>
                </a:lnTo>
                <a:cubicBezTo>
                  <a:pt x="3042338" y="6372402"/>
                  <a:pt x="3043311" y="6362996"/>
                  <a:pt x="3043311" y="6358780"/>
                </a:cubicBezTo>
                <a:cubicBezTo>
                  <a:pt x="3043311" y="6316295"/>
                  <a:pt x="3018660" y="6281922"/>
                  <a:pt x="2972280" y="6281922"/>
                </a:cubicBezTo>
                <a:close/>
                <a:moveTo>
                  <a:pt x="2748837" y="6281922"/>
                </a:moveTo>
                <a:cubicBezTo>
                  <a:pt x="2697262" y="6281922"/>
                  <a:pt x="2660931" y="6319217"/>
                  <a:pt x="2660931" y="6367862"/>
                </a:cubicBezTo>
                <a:cubicBezTo>
                  <a:pt x="2660931" y="6417155"/>
                  <a:pt x="2697262" y="6453801"/>
                  <a:pt x="2748837" y="6453801"/>
                </a:cubicBezTo>
                <a:cubicBezTo>
                  <a:pt x="2773344" y="6454342"/>
                  <a:pt x="2797011" y="6444855"/>
                  <a:pt x="2814356" y="6427535"/>
                </a:cubicBezTo>
                <a:lnTo>
                  <a:pt x="2801703" y="6404507"/>
                </a:lnTo>
                <a:cubicBezTo>
                  <a:pt x="2788291" y="6418078"/>
                  <a:pt x="2770174" y="6425974"/>
                  <a:pt x="2751101" y="6426561"/>
                </a:cubicBezTo>
                <a:cubicBezTo>
                  <a:pt x="2717043" y="6426561"/>
                  <a:pt x="2693040" y="6400940"/>
                  <a:pt x="2693040" y="6367536"/>
                </a:cubicBezTo>
                <a:cubicBezTo>
                  <a:pt x="2693040" y="6333809"/>
                  <a:pt x="2717043" y="6309162"/>
                  <a:pt x="2750128" y="6309162"/>
                </a:cubicBezTo>
                <a:cubicBezTo>
                  <a:pt x="2767113" y="6309400"/>
                  <a:pt x="2783363" y="6316132"/>
                  <a:pt x="2795541" y="6327973"/>
                </a:cubicBezTo>
                <a:lnTo>
                  <a:pt x="2810461" y="6305919"/>
                </a:lnTo>
                <a:cubicBezTo>
                  <a:pt x="2810461" y="6305919"/>
                  <a:pt x="2790029" y="6281922"/>
                  <a:pt x="2748837" y="6281922"/>
                </a:cubicBezTo>
                <a:close/>
                <a:moveTo>
                  <a:pt x="2593020" y="6281922"/>
                </a:moveTo>
                <a:cubicBezTo>
                  <a:pt x="2560260" y="6281922"/>
                  <a:pt x="2533661" y="6298787"/>
                  <a:pt x="2533661" y="6328619"/>
                </a:cubicBezTo>
                <a:cubicBezTo>
                  <a:pt x="2533661" y="6382132"/>
                  <a:pt x="2617996" y="6375969"/>
                  <a:pt x="2617996" y="6406130"/>
                </a:cubicBezTo>
                <a:cubicBezTo>
                  <a:pt x="2617996" y="6419427"/>
                  <a:pt x="2604367" y="6426561"/>
                  <a:pt x="2590747" y="6426561"/>
                </a:cubicBezTo>
                <a:cubicBezTo>
                  <a:pt x="2573236" y="6426254"/>
                  <a:pt x="2556467" y="6419431"/>
                  <a:pt x="2543718" y="6407425"/>
                </a:cubicBezTo>
                <a:lnTo>
                  <a:pt x="2528466" y="6429803"/>
                </a:lnTo>
                <a:cubicBezTo>
                  <a:pt x="2545284" y="6445645"/>
                  <a:pt x="2567645" y="6454261"/>
                  <a:pt x="2590747" y="6453801"/>
                </a:cubicBezTo>
                <a:cubicBezTo>
                  <a:pt x="2626753" y="6453801"/>
                  <a:pt x="2650106" y="6433369"/>
                  <a:pt x="2650106" y="6406130"/>
                </a:cubicBezTo>
                <a:cubicBezTo>
                  <a:pt x="2650106" y="6352295"/>
                  <a:pt x="2565771" y="6358780"/>
                  <a:pt x="2565771" y="6329268"/>
                </a:cubicBezTo>
                <a:cubicBezTo>
                  <a:pt x="2565771" y="6315001"/>
                  <a:pt x="2579067" y="6309162"/>
                  <a:pt x="2592695" y="6309162"/>
                </a:cubicBezTo>
                <a:cubicBezTo>
                  <a:pt x="2607550" y="6308844"/>
                  <a:pt x="2621996" y="6314044"/>
                  <a:pt x="2633239" y="6323757"/>
                </a:cubicBezTo>
                <a:lnTo>
                  <a:pt x="2645885" y="6300081"/>
                </a:lnTo>
                <a:cubicBezTo>
                  <a:pt x="2645885" y="6300081"/>
                  <a:pt x="2629018" y="6281922"/>
                  <a:pt x="2593020" y="6281922"/>
                </a:cubicBezTo>
                <a:close/>
                <a:moveTo>
                  <a:pt x="1223619" y="6235871"/>
                </a:moveTo>
                <a:lnTo>
                  <a:pt x="1278761" y="6235871"/>
                </a:lnTo>
                <a:cubicBezTo>
                  <a:pt x="1339094" y="6235871"/>
                  <a:pt x="1379638" y="6271542"/>
                  <a:pt x="1379638" y="6336406"/>
                </a:cubicBezTo>
                <a:cubicBezTo>
                  <a:pt x="1379638" y="6401589"/>
                  <a:pt x="1339094" y="6436937"/>
                  <a:pt x="1278761" y="6436937"/>
                </a:cubicBezTo>
                <a:lnTo>
                  <a:pt x="1223619" y="6436937"/>
                </a:lnTo>
                <a:close/>
                <a:moveTo>
                  <a:pt x="2147812" y="6222898"/>
                </a:moveTo>
                <a:lnTo>
                  <a:pt x="2147812" y="6449909"/>
                </a:lnTo>
                <a:lnTo>
                  <a:pt x="2161440" y="6449909"/>
                </a:lnTo>
                <a:lnTo>
                  <a:pt x="2161440" y="6431426"/>
                </a:lnTo>
                <a:cubicBezTo>
                  <a:pt x="2161480" y="6426638"/>
                  <a:pt x="2161045" y="6421858"/>
                  <a:pt x="2160141" y="6417155"/>
                </a:cubicBezTo>
                <a:lnTo>
                  <a:pt x="2160791" y="6417155"/>
                </a:lnTo>
                <a:cubicBezTo>
                  <a:pt x="2160791" y="6417155"/>
                  <a:pt x="2176035" y="6453801"/>
                  <a:pt x="2216903" y="6453801"/>
                </a:cubicBezTo>
                <a:cubicBezTo>
                  <a:pt x="2259395" y="6453801"/>
                  <a:pt x="2289558" y="6420397"/>
                  <a:pt x="2289558" y="6368835"/>
                </a:cubicBezTo>
                <a:cubicBezTo>
                  <a:pt x="2289558" y="6318568"/>
                  <a:pt x="2262959" y="6283866"/>
                  <a:pt x="2219501" y="6283866"/>
                </a:cubicBezTo>
                <a:cubicBezTo>
                  <a:pt x="2194302" y="6283022"/>
                  <a:pt x="2171097" y="6297505"/>
                  <a:pt x="2160791" y="6320511"/>
                </a:cubicBezTo>
                <a:lnTo>
                  <a:pt x="2160141" y="6320511"/>
                </a:lnTo>
                <a:cubicBezTo>
                  <a:pt x="2161010" y="6316134"/>
                  <a:pt x="2161445" y="6311681"/>
                  <a:pt x="2161440" y="6307218"/>
                </a:cubicBezTo>
                <a:lnTo>
                  <a:pt x="2161440" y="6222898"/>
                </a:lnTo>
                <a:close/>
                <a:moveTo>
                  <a:pt x="1525168" y="6222898"/>
                </a:moveTo>
                <a:lnTo>
                  <a:pt x="1525168" y="6246571"/>
                </a:lnTo>
                <a:lnTo>
                  <a:pt x="1541386" y="6246571"/>
                </a:lnTo>
                <a:lnTo>
                  <a:pt x="1541386" y="6222898"/>
                </a:lnTo>
                <a:close/>
                <a:moveTo>
                  <a:pt x="1209670" y="6222898"/>
                </a:moveTo>
                <a:lnTo>
                  <a:pt x="1209670" y="6449909"/>
                </a:lnTo>
                <a:lnTo>
                  <a:pt x="1281034" y="6449909"/>
                </a:lnTo>
                <a:cubicBezTo>
                  <a:pt x="1348498" y="6449909"/>
                  <a:pt x="1394232" y="6408723"/>
                  <a:pt x="1394232" y="6336406"/>
                </a:cubicBezTo>
                <a:cubicBezTo>
                  <a:pt x="1394232" y="6264409"/>
                  <a:pt x="1348498" y="6222898"/>
                  <a:pt x="1281034" y="6222898"/>
                </a:cubicBezTo>
                <a:close/>
                <a:moveTo>
                  <a:pt x="2833551" y="6220951"/>
                </a:moveTo>
                <a:lnTo>
                  <a:pt x="2833551" y="6253060"/>
                </a:lnTo>
                <a:lnTo>
                  <a:pt x="2865337" y="6253060"/>
                </a:lnTo>
                <a:lnTo>
                  <a:pt x="2865337" y="6220951"/>
                </a:lnTo>
                <a:close/>
                <a:moveTo>
                  <a:pt x="982628" y="6207360"/>
                </a:moveTo>
                <a:cubicBezTo>
                  <a:pt x="963105" y="6332337"/>
                  <a:pt x="865050" y="6430379"/>
                  <a:pt x="740053" y="6449905"/>
                </a:cubicBezTo>
                <a:lnTo>
                  <a:pt x="982628" y="6449909"/>
                </a:lnTo>
                <a:close/>
                <a:moveTo>
                  <a:pt x="407989" y="6207356"/>
                </a:moveTo>
                <a:lnTo>
                  <a:pt x="407989" y="6449905"/>
                </a:lnTo>
                <a:lnTo>
                  <a:pt x="650564" y="6449905"/>
                </a:lnTo>
                <a:cubicBezTo>
                  <a:pt x="525562" y="6430384"/>
                  <a:pt x="427505" y="6332337"/>
                  <a:pt x="407989" y="6207356"/>
                </a:cubicBezTo>
                <a:close/>
                <a:moveTo>
                  <a:pt x="883619" y="6147250"/>
                </a:moveTo>
                <a:lnTo>
                  <a:pt x="915428" y="6147250"/>
                </a:lnTo>
                <a:lnTo>
                  <a:pt x="915428" y="6178023"/>
                </a:lnTo>
                <a:lnTo>
                  <a:pt x="883619" y="6178023"/>
                </a:lnTo>
                <a:close/>
                <a:moveTo>
                  <a:pt x="739956" y="6106213"/>
                </a:moveTo>
                <a:lnTo>
                  <a:pt x="739956" y="6219065"/>
                </a:lnTo>
                <a:lnTo>
                  <a:pt x="830261" y="6219065"/>
                </a:lnTo>
                <a:lnTo>
                  <a:pt x="830261" y="6178031"/>
                </a:lnTo>
                <a:lnTo>
                  <a:pt x="781009" y="6178031"/>
                </a:lnTo>
                <a:lnTo>
                  <a:pt x="781009" y="6147251"/>
                </a:lnTo>
                <a:lnTo>
                  <a:pt x="830261" y="6147251"/>
                </a:lnTo>
                <a:lnTo>
                  <a:pt x="830261" y="6106213"/>
                </a:lnTo>
                <a:close/>
                <a:moveTo>
                  <a:pt x="3802396" y="6068975"/>
                </a:moveTo>
                <a:lnTo>
                  <a:pt x="3802396" y="6102379"/>
                </a:lnTo>
                <a:lnTo>
                  <a:pt x="3835481" y="6102379"/>
                </a:lnTo>
                <a:lnTo>
                  <a:pt x="3835481" y="6068975"/>
                </a:lnTo>
                <a:close/>
                <a:moveTo>
                  <a:pt x="842572" y="6042596"/>
                </a:moveTo>
                <a:lnTo>
                  <a:pt x="842572" y="6219054"/>
                </a:lnTo>
                <a:lnTo>
                  <a:pt x="953399" y="6219054"/>
                </a:lnTo>
                <a:lnTo>
                  <a:pt x="953399" y="6106202"/>
                </a:lnTo>
                <a:lnTo>
                  <a:pt x="883619" y="6106202"/>
                </a:lnTo>
                <a:lnTo>
                  <a:pt x="883619" y="6042596"/>
                </a:lnTo>
                <a:close/>
                <a:moveTo>
                  <a:pt x="2979149" y="6023573"/>
                </a:moveTo>
                <a:lnTo>
                  <a:pt x="2987258" y="6023573"/>
                </a:lnTo>
                <a:lnTo>
                  <a:pt x="2987258" y="6028762"/>
                </a:lnTo>
                <a:cubicBezTo>
                  <a:pt x="2987258" y="6053085"/>
                  <a:pt x="2970067" y="6080974"/>
                  <a:pt x="2943468" y="6080974"/>
                </a:cubicBezTo>
                <a:cubicBezTo>
                  <a:pt x="2923029" y="6080974"/>
                  <a:pt x="2912656" y="6068005"/>
                  <a:pt x="2912656" y="6054708"/>
                </a:cubicBezTo>
                <a:cubicBezTo>
                  <a:pt x="2912656" y="6025196"/>
                  <a:pt x="2955464" y="6023573"/>
                  <a:pt x="2979149" y="6023573"/>
                </a:cubicBezTo>
                <a:close/>
                <a:moveTo>
                  <a:pt x="2790699" y="5961955"/>
                </a:moveTo>
                <a:cubicBezTo>
                  <a:pt x="2817947" y="5961955"/>
                  <a:pt x="2837087" y="5984982"/>
                  <a:pt x="2837087" y="6020654"/>
                </a:cubicBezTo>
                <a:cubicBezTo>
                  <a:pt x="2837087" y="6057949"/>
                  <a:pt x="2815674" y="6079354"/>
                  <a:pt x="2789732" y="6079354"/>
                </a:cubicBezTo>
                <a:cubicBezTo>
                  <a:pt x="2759562" y="6079354"/>
                  <a:pt x="2743344" y="6050166"/>
                  <a:pt x="2743344" y="6020979"/>
                </a:cubicBezTo>
                <a:cubicBezTo>
                  <a:pt x="2743344" y="5979143"/>
                  <a:pt x="2766047" y="5961955"/>
                  <a:pt x="2790699" y="5961955"/>
                </a:cubicBezTo>
                <a:close/>
                <a:moveTo>
                  <a:pt x="3285066" y="5959362"/>
                </a:moveTo>
                <a:cubicBezTo>
                  <a:pt x="3306153" y="5959362"/>
                  <a:pt x="3323671" y="5972980"/>
                  <a:pt x="3324644" y="6001198"/>
                </a:cubicBezTo>
                <a:lnTo>
                  <a:pt x="3237062" y="6001198"/>
                </a:lnTo>
                <a:cubicBezTo>
                  <a:pt x="3241608" y="5974279"/>
                  <a:pt x="3261065" y="5959362"/>
                  <a:pt x="3285066" y="5959362"/>
                </a:cubicBezTo>
                <a:close/>
                <a:moveTo>
                  <a:pt x="2389939" y="5949632"/>
                </a:moveTo>
                <a:cubicBezTo>
                  <a:pt x="2423024" y="5949632"/>
                  <a:pt x="2446377" y="5977521"/>
                  <a:pt x="2446377" y="6021305"/>
                </a:cubicBezTo>
                <a:cubicBezTo>
                  <a:pt x="2446377" y="6066707"/>
                  <a:pt x="2420427" y="6092976"/>
                  <a:pt x="2388641" y="6092976"/>
                </a:cubicBezTo>
                <a:cubicBezTo>
                  <a:pt x="2350687" y="6092976"/>
                  <a:pt x="2332204" y="6057626"/>
                  <a:pt x="2332204" y="6021629"/>
                </a:cubicBezTo>
                <a:cubicBezTo>
                  <a:pt x="2332204" y="5970712"/>
                  <a:pt x="2360094" y="5949632"/>
                  <a:pt x="2389939" y="5949632"/>
                </a:cubicBezTo>
                <a:close/>
                <a:moveTo>
                  <a:pt x="2115219" y="5949632"/>
                </a:moveTo>
                <a:cubicBezTo>
                  <a:pt x="2153168" y="5949632"/>
                  <a:pt x="2171660" y="5984983"/>
                  <a:pt x="2171660" y="6020980"/>
                </a:cubicBezTo>
                <a:cubicBezTo>
                  <a:pt x="2171660" y="6071896"/>
                  <a:pt x="2143761" y="6092976"/>
                  <a:pt x="2113920" y="6092976"/>
                </a:cubicBezTo>
                <a:cubicBezTo>
                  <a:pt x="2080833" y="6092976"/>
                  <a:pt x="2057481" y="6065084"/>
                  <a:pt x="2057481" y="6021305"/>
                </a:cubicBezTo>
                <a:cubicBezTo>
                  <a:pt x="2057481" y="5975902"/>
                  <a:pt x="2083427" y="5949632"/>
                  <a:pt x="2115219" y="5949632"/>
                </a:cubicBezTo>
                <a:close/>
                <a:moveTo>
                  <a:pt x="1641577" y="5949632"/>
                </a:moveTo>
                <a:cubicBezTo>
                  <a:pt x="1674661" y="5949632"/>
                  <a:pt x="1698014" y="5977521"/>
                  <a:pt x="1698014" y="6021304"/>
                </a:cubicBezTo>
                <a:cubicBezTo>
                  <a:pt x="1698014" y="6066706"/>
                  <a:pt x="1672064" y="6092976"/>
                  <a:pt x="1640278" y="6092976"/>
                </a:cubicBezTo>
                <a:cubicBezTo>
                  <a:pt x="1603947" y="6092976"/>
                  <a:pt x="1583842" y="6057625"/>
                  <a:pt x="1583842" y="6021628"/>
                </a:cubicBezTo>
                <a:cubicBezTo>
                  <a:pt x="1583842" y="5970712"/>
                  <a:pt x="1611732" y="5949632"/>
                  <a:pt x="1641577" y="5949632"/>
                </a:cubicBezTo>
                <a:close/>
                <a:moveTo>
                  <a:pt x="1954957" y="5948983"/>
                </a:moveTo>
                <a:cubicBezTo>
                  <a:pt x="1981876" y="5948983"/>
                  <a:pt x="2005557" y="5966821"/>
                  <a:pt x="2007177" y="6006384"/>
                </a:cubicBezTo>
                <a:lnTo>
                  <a:pt x="1891706" y="6006384"/>
                </a:lnTo>
                <a:cubicBezTo>
                  <a:pt x="1897546" y="5968444"/>
                  <a:pt x="1925116" y="5948983"/>
                  <a:pt x="1954957" y="5948983"/>
                </a:cubicBezTo>
                <a:close/>
                <a:moveTo>
                  <a:pt x="2464407" y="5940226"/>
                </a:moveTo>
                <a:lnTo>
                  <a:pt x="2531550" y="6101405"/>
                </a:lnTo>
                <a:lnTo>
                  <a:pt x="2519870" y="6128324"/>
                </a:lnTo>
                <a:cubicBezTo>
                  <a:pt x="2513384" y="6143564"/>
                  <a:pt x="2503652" y="6157511"/>
                  <a:pt x="2488084" y="6157511"/>
                </a:cubicBezTo>
                <a:cubicBezTo>
                  <a:pt x="2480726" y="6157103"/>
                  <a:pt x="2473686" y="6154379"/>
                  <a:pt x="2467970" y="6149728"/>
                </a:cubicBezTo>
                <a:lnTo>
                  <a:pt x="2461809" y="6161402"/>
                </a:lnTo>
                <a:cubicBezTo>
                  <a:pt x="2469354" y="6167192"/>
                  <a:pt x="2478573" y="6170379"/>
                  <a:pt x="2488084" y="6170485"/>
                </a:cubicBezTo>
                <a:cubicBezTo>
                  <a:pt x="2508514" y="6170485"/>
                  <a:pt x="2522142" y="6157186"/>
                  <a:pt x="2529277" y="6140322"/>
                </a:cubicBezTo>
                <a:lnTo>
                  <a:pt x="2612638" y="5940226"/>
                </a:lnTo>
                <a:lnTo>
                  <a:pt x="2598044" y="5940226"/>
                </a:lnTo>
                <a:lnTo>
                  <a:pt x="2544521" y="6069624"/>
                </a:lnTo>
                <a:cubicBezTo>
                  <a:pt x="2541274" y="6077407"/>
                  <a:pt x="2539009" y="6084865"/>
                  <a:pt x="2539009" y="6084865"/>
                </a:cubicBezTo>
                <a:lnTo>
                  <a:pt x="2538360" y="6084865"/>
                </a:lnTo>
                <a:cubicBezTo>
                  <a:pt x="2538360" y="6084865"/>
                  <a:pt x="2535763" y="6077407"/>
                  <a:pt x="2532516" y="6069624"/>
                </a:cubicBezTo>
                <a:lnTo>
                  <a:pt x="2479001" y="5940226"/>
                </a:lnTo>
                <a:close/>
                <a:moveTo>
                  <a:pt x="1744846" y="5940226"/>
                </a:moveTo>
                <a:lnTo>
                  <a:pt x="1744846" y="6102378"/>
                </a:lnTo>
                <a:lnTo>
                  <a:pt x="1758470" y="6102378"/>
                </a:lnTo>
                <a:lnTo>
                  <a:pt x="1758470" y="5940226"/>
                </a:lnTo>
                <a:close/>
                <a:moveTo>
                  <a:pt x="1864854" y="5938932"/>
                </a:moveTo>
                <a:cubicBezTo>
                  <a:pt x="1839229" y="5938932"/>
                  <a:pt x="1821064" y="5959362"/>
                  <a:pt x="1812955" y="5984334"/>
                </a:cubicBezTo>
                <a:lnTo>
                  <a:pt x="1812306" y="5984334"/>
                </a:lnTo>
                <a:cubicBezTo>
                  <a:pt x="1813174" y="5979955"/>
                  <a:pt x="1813609" y="5975501"/>
                  <a:pt x="1813604" y="5971037"/>
                </a:cubicBezTo>
                <a:lnTo>
                  <a:pt x="1813604" y="5940226"/>
                </a:lnTo>
                <a:lnTo>
                  <a:pt x="1799984" y="5940226"/>
                </a:lnTo>
                <a:lnTo>
                  <a:pt x="1799984" y="6102378"/>
                </a:lnTo>
                <a:lnTo>
                  <a:pt x="1813604" y="6102378"/>
                </a:lnTo>
                <a:lnTo>
                  <a:pt x="1813604" y="6032329"/>
                </a:lnTo>
                <a:cubicBezTo>
                  <a:pt x="1813514" y="6020799"/>
                  <a:pt x="1815154" y="6009320"/>
                  <a:pt x="1818470" y="5998276"/>
                </a:cubicBezTo>
                <a:cubicBezTo>
                  <a:pt x="1825609" y="5974279"/>
                  <a:pt x="1841502" y="5952874"/>
                  <a:pt x="1866802" y="5952874"/>
                </a:cubicBezTo>
                <a:cubicBezTo>
                  <a:pt x="1869301" y="5952914"/>
                  <a:pt x="1871794" y="5953131"/>
                  <a:pt x="1874262" y="5953523"/>
                </a:cubicBezTo>
                <a:lnTo>
                  <a:pt x="1874262" y="5939902"/>
                </a:lnTo>
                <a:cubicBezTo>
                  <a:pt x="1871162" y="5939288"/>
                  <a:pt x="1868013" y="5938964"/>
                  <a:pt x="1864854" y="5938932"/>
                </a:cubicBezTo>
                <a:close/>
                <a:moveTo>
                  <a:pt x="3147319" y="5938282"/>
                </a:moveTo>
                <a:lnTo>
                  <a:pt x="3147319" y="6102378"/>
                </a:lnTo>
                <a:lnTo>
                  <a:pt x="3178780" y="6102378"/>
                </a:lnTo>
                <a:lnTo>
                  <a:pt x="3178780" y="5938282"/>
                </a:lnTo>
                <a:close/>
                <a:moveTo>
                  <a:pt x="1955281" y="5936335"/>
                </a:moveTo>
                <a:cubicBezTo>
                  <a:pt x="1913763" y="5936335"/>
                  <a:pt x="1876463" y="5966821"/>
                  <a:pt x="1876463" y="6021629"/>
                </a:cubicBezTo>
                <a:cubicBezTo>
                  <a:pt x="1876463" y="6073190"/>
                  <a:pt x="1914410" y="6106269"/>
                  <a:pt x="1960147" y="6106269"/>
                </a:cubicBezTo>
                <a:cubicBezTo>
                  <a:pt x="1981462" y="6106017"/>
                  <a:pt x="2001966" y="6098070"/>
                  <a:pt x="2017884" y="6083895"/>
                </a:cubicBezTo>
                <a:lnTo>
                  <a:pt x="2010424" y="6072541"/>
                </a:lnTo>
                <a:cubicBezTo>
                  <a:pt x="1996890" y="6085523"/>
                  <a:pt x="1978902" y="6092834"/>
                  <a:pt x="1960147" y="6092976"/>
                </a:cubicBezTo>
                <a:cubicBezTo>
                  <a:pt x="1922522" y="6092976"/>
                  <a:pt x="1890731" y="6066057"/>
                  <a:pt x="1890731" y="6019031"/>
                </a:cubicBezTo>
                <a:lnTo>
                  <a:pt x="2020802" y="6019031"/>
                </a:lnTo>
                <a:cubicBezTo>
                  <a:pt x="2020802" y="6019031"/>
                  <a:pt x="2021451" y="6013846"/>
                  <a:pt x="2021451" y="6010275"/>
                </a:cubicBezTo>
                <a:cubicBezTo>
                  <a:pt x="2021451" y="5971037"/>
                  <a:pt x="1999394" y="5936335"/>
                  <a:pt x="1955281" y="5936335"/>
                </a:cubicBezTo>
                <a:close/>
                <a:moveTo>
                  <a:pt x="1642226" y="5936335"/>
                </a:moveTo>
                <a:cubicBezTo>
                  <a:pt x="1597137" y="5936335"/>
                  <a:pt x="1583842" y="5972656"/>
                  <a:pt x="1583842" y="5972656"/>
                </a:cubicBezTo>
                <a:lnTo>
                  <a:pt x="1583192" y="5972655"/>
                </a:lnTo>
                <a:cubicBezTo>
                  <a:pt x="1583857" y="5968365"/>
                  <a:pt x="1584183" y="5964029"/>
                  <a:pt x="1584166" y="5959687"/>
                </a:cubicBezTo>
                <a:lnTo>
                  <a:pt x="1584166" y="5940226"/>
                </a:lnTo>
                <a:lnTo>
                  <a:pt x="1570538" y="5940226"/>
                </a:lnTo>
                <a:lnTo>
                  <a:pt x="1570538" y="6167243"/>
                </a:lnTo>
                <a:lnTo>
                  <a:pt x="1584166" y="6167243"/>
                </a:lnTo>
                <a:lnTo>
                  <a:pt x="1584166" y="6083895"/>
                </a:lnTo>
                <a:cubicBezTo>
                  <a:pt x="1584206" y="6079107"/>
                  <a:pt x="1583771" y="6074326"/>
                  <a:pt x="1582867" y="6069624"/>
                </a:cubicBezTo>
                <a:lnTo>
                  <a:pt x="1583517" y="6069624"/>
                </a:lnTo>
                <a:cubicBezTo>
                  <a:pt x="1593528" y="6091984"/>
                  <a:pt x="1615776" y="6106348"/>
                  <a:pt x="1640279" y="6106269"/>
                </a:cubicBezTo>
                <a:cubicBezTo>
                  <a:pt x="1682121" y="6106269"/>
                  <a:pt x="1712284" y="6072866"/>
                  <a:pt x="1712284" y="6021304"/>
                </a:cubicBezTo>
                <a:cubicBezTo>
                  <a:pt x="1712284" y="5971037"/>
                  <a:pt x="1685689" y="5936335"/>
                  <a:pt x="1642226" y="5936335"/>
                </a:cubicBezTo>
                <a:close/>
                <a:moveTo>
                  <a:pt x="1489846" y="5936335"/>
                </a:moveTo>
                <a:cubicBezTo>
                  <a:pt x="1462277" y="5936335"/>
                  <a:pt x="1437951" y="5951255"/>
                  <a:pt x="1437951" y="5980118"/>
                </a:cubicBezTo>
                <a:cubicBezTo>
                  <a:pt x="1437951" y="6032978"/>
                  <a:pt x="1527151" y="6021304"/>
                  <a:pt x="1527151" y="6062490"/>
                </a:cubicBezTo>
                <a:cubicBezTo>
                  <a:pt x="1527151" y="6082596"/>
                  <a:pt x="1509635" y="6092976"/>
                  <a:pt x="1489846" y="6092977"/>
                </a:cubicBezTo>
                <a:cubicBezTo>
                  <a:pt x="1471034" y="6093132"/>
                  <a:pt x="1452938" y="6085776"/>
                  <a:pt x="1439570" y="6072541"/>
                </a:cubicBezTo>
                <a:lnTo>
                  <a:pt x="1430812" y="6082921"/>
                </a:lnTo>
                <a:cubicBezTo>
                  <a:pt x="1430812" y="6082921"/>
                  <a:pt x="1450276" y="6106269"/>
                  <a:pt x="1489522" y="6106269"/>
                </a:cubicBezTo>
                <a:cubicBezTo>
                  <a:pt x="1519363" y="6106269"/>
                  <a:pt x="1541421" y="6088435"/>
                  <a:pt x="1541421" y="6062490"/>
                </a:cubicBezTo>
                <a:cubicBezTo>
                  <a:pt x="1541421" y="6008656"/>
                  <a:pt x="1452224" y="6021304"/>
                  <a:pt x="1452224" y="5979144"/>
                </a:cubicBezTo>
                <a:cubicBezTo>
                  <a:pt x="1452224" y="5958064"/>
                  <a:pt x="1470386" y="5949632"/>
                  <a:pt x="1488872" y="5949632"/>
                </a:cubicBezTo>
                <a:cubicBezTo>
                  <a:pt x="1516445" y="5949632"/>
                  <a:pt x="1529741" y="5964873"/>
                  <a:pt x="1529741" y="5964873"/>
                </a:cubicBezTo>
                <a:lnTo>
                  <a:pt x="1537850" y="5953848"/>
                </a:lnTo>
                <a:cubicBezTo>
                  <a:pt x="1537850" y="5953848"/>
                  <a:pt x="1522930" y="5936335"/>
                  <a:pt x="1489846" y="5936335"/>
                </a:cubicBezTo>
                <a:close/>
                <a:moveTo>
                  <a:pt x="1352909" y="5936335"/>
                </a:moveTo>
                <a:cubicBezTo>
                  <a:pt x="1322882" y="5936387"/>
                  <a:pt x="1295799" y="5954395"/>
                  <a:pt x="1284142" y="5982062"/>
                </a:cubicBezTo>
                <a:lnTo>
                  <a:pt x="1283493" y="5982062"/>
                </a:lnTo>
                <a:cubicBezTo>
                  <a:pt x="1284361" y="5977683"/>
                  <a:pt x="1284796" y="5973229"/>
                  <a:pt x="1284791" y="5968765"/>
                </a:cubicBezTo>
                <a:lnTo>
                  <a:pt x="1284791" y="5940226"/>
                </a:lnTo>
                <a:lnTo>
                  <a:pt x="1271171" y="5940226"/>
                </a:lnTo>
                <a:lnTo>
                  <a:pt x="1271171" y="6102378"/>
                </a:lnTo>
                <a:lnTo>
                  <a:pt x="1284791" y="6102378"/>
                </a:lnTo>
                <a:lnTo>
                  <a:pt x="1284791" y="6023248"/>
                </a:lnTo>
                <a:cubicBezTo>
                  <a:pt x="1284635" y="6015814"/>
                  <a:pt x="1285509" y="6008393"/>
                  <a:pt x="1287389" y="6001199"/>
                </a:cubicBezTo>
                <a:cubicBezTo>
                  <a:pt x="1295125" y="5971221"/>
                  <a:pt x="1321947" y="5950111"/>
                  <a:pt x="1352909" y="5949632"/>
                </a:cubicBezTo>
                <a:cubicBezTo>
                  <a:pt x="1389235" y="5949632"/>
                  <a:pt x="1392802" y="5976227"/>
                  <a:pt x="1392802" y="6004440"/>
                </a:cubicBezTo>
                <a:lnTo>
                  <a:pt x="1392802" y="6102379"/>
                </a:lnTo>
                <a:lnTo>
                  <a:pt x="1406426" y="6102379"/>
                </a:lnTo>
                <a:lnTo>
                  <a:pt x="1406426" y="5999575"/>
                </a:lnTo>
                <a:cubicBezTo>
                  <a:pt x="1406426" y="5961306"/>
                  <a:pt x="1395076" y="5936335"/>
                  <a:pt x="1352909" y="5936335"/>
                </a:cubicBezTo>
                <a:close/>
                <a:moveTo>
                  <a:pt x="3474783" y="5934392"/>
                </a:moveTo>
                <a:cubicBezTo>
                  <a:pt x="3448647" y="5933795"/>
                  <a:pt x="3424564" y="5948494"/>
                  <a:pt x="3413151" y="5972011"/>
                </a:cubicBezTo>
                <a:lnTo>
                  <a:pt x="3412502" y="5972011"/>
                </a:lnTo>
                <a:cubicBezTo>
                  <a:pt x="3412928" y="5968025"/>
                  <a:pt x="3413144" y="5964020"/>
                  <a:pt x="3413151" y="5960012"/>
                </a:cubicBezTo>
                <a:lnTo>
                  <a:pt x="3413151" y="5938282"/>
                </a:lnTo>
                <a:lnTo>
                  <a:pt x="3382664" y="5938282"/>
                </a:lnTo>
                <a:lnTo>
                  <a:pt x="3382664" y="6102378"/>
                </a:lnTo>
                <a:lnTo>
                  <a:pt x="3414125" y="6102378"/>
                </a:lnTo>
                <a:lnTo>
                  <a:pt x="3414125" y="6025520"/>
                </a:lnTo>
                <a:cubicBezTo>
                  <a:pt x="3413930" y="6018083"/>
                  <a:pt x="3414804" y="6010655"/>
                  <a:pt x="3416723" y="6003466"/>
                </a:cubicBezTo>
                <a:cubicBezTo>
                  <a:pt x="3422869" y="5979829"/>
                  <a:pt x="3444187" y="5963309"/>
                  <a:pt x="3468615" y="5963254"/>
                </a:cubicBezTo>
                <a:cubicBezTo>
                  <a:pt x="3494890" y="5963254"/>
                  <a:pt x="3499759" y="5981413"/>
                  <a:pt x="3499759" y="6004440"/>
                </a:cubicBezTo>
                <a:lnTo>
                  <a:pt x="3499759" y="6102378"/>
                </a:lnTo>
                <a:lnTo>
                  <a:pt x="3531220" y="6102378"/>
                </a:lnTo>
                <a:lnTo>
                  <a:pt x="3531220" y="5997307"/>
                </a:lnTo>
                <a:cubicBezTo>
                  <a:pt x="3531220" y="5955472"/>
                  <a:pt x="3513380" y="5934391"/>
                  <a:pt x="3474783" y="5934392"/>
                </a:cubicBezTo>
                <a:close/>
                <a:moveTo>
                  <a:pt x="3717650" y="5934391"/>
                </a:moveTo>
                <a:cubicBezTo>
                  <a:pt x="3684891" y="5934391"/>
                  <a:pt x="3658292" y="5951255"/>
                  <a:pt x="3658292" y="5981088"/>
                </a:cubicBezTo>
                <a:cubicBezTo>
                  <a:pt x="3658292" y="6034601"/>
                  <a:pt x="3742624" y="6028438"/>
                  <a:pt x="3742624" y="6058599"/>
                </a:cubicBezTo>
                <a:cubicBezTo>
                  <a:pt x="3742624" y="6071896"/>
                  <a:pt x="3728997" y="6079030"/>
                  <a:pt x="3715378" y="6079030"/>
                </a:cubicBezTo>
                <a:cubicBezTo>
                  <a:pt x="3697865" y="6078722"/>
                  <a:pt x="3681098" y="6071899"/>
                  <a:pt x="3668348" y="6059893"/>
                </a:cubicBezTo>
                <a:lnTo>
                  <a:pt x="3653097" y="6082272"/>
                </a:lnTo>
                <a:cubicBezTo>
                  <a:pt x="3669915" y="6098114"/>
                  <a:pt x="3692275" y="6106730"/>
                  <a:pt x="3715378" y="6106270"/>
                </a:cubicBezTo>
                <a:cubicBezTo>
                  <a:pt x="3751384" y="6106270"/>
                  <a:pt x="3774736" y="6085838"/>
                  <a:pt x="3774736" y="6058599"/>
                </a:cubicBezTo>
                <a:cubicBezTo>
                  <a:pt x="3774736" y="6004764"/>
                  <a:pt x="3690402" y="6011249"/>
                  <a:pt x="3690402" y="5981737"/>
                </a:cubicBezTo>
                <a:cubicBezTo>
                  <a:pt x="3690402" y="5967469"/>
                  <a:pt x="3703698" y="5961631"/>
                  <a:pt x="3717325" y="5961631"/>
                </a:cubicBezTo>
                <a:cubicBezTo>
                  <a:pt x="3732180" y="5961313"/>
                  <a:pt x="3746626" y="5966513"/>
                  <a:pt x="3757869" y="5976226"/>
                </a:cubicBezTo>
                <a:lnTo>
                  <a:pt x="3770514" y="5952550"/>
                </a:lnTo>
                <a:cubicBezTo>
                  <a:pt x="3770514" y="5952550"/>
                  <a:pt x="3753648" y="5934391"/>
                  <a:pt x="3717650" y="5934391"/>
                </a:cubicBezTo>
                <a:close/>
                <a:moveTo>
                  <a:pt x="3285715" y="5934391"/>
                </a:moveTo>
                <a:cubicBezTo>
                  <a:pt x="3239010" y="5934391"/>
                  <a:pt x="3203653" y="5968119"/>
                  <a:pt x="3203653" y="6020331"/>
                </a:cubicBezTo>
                <a:cubicBezTo>
                  <a:pt x="3203653" y="6068975"/>
                  <a:pt x="3239010" y="6106270"/>
                  <a:pt x="3290585" y="6106270"/>
                </a:cubicBezTo>
                <a:cubicBezTo>
                  <a:pt x="3313882" y="6106314"/>
                  <a:pt x="3336429" y="6098034"/>
                  <a:pt x="3354158" y="6082921"/>
                </a:cubicBezTo>
                <a:lnTo>
                  <a:pt x="3341187" y="6059893"/>
                </a:lnTo>
                <a:cubicBezTo>
                  <a:pt x="3327640" y="6071661"/>
                  <a:pt x="3310460" y="6078417"/>
                  <a:pt x="3292526" y="6079030"/>
                </a:cubicBezTo>
                <a:cubicBezTo>
                  <a:pt x="3263337" y="6079030"/>
                  <a:pt x="3237712" y="6060868"/>
                  <a:pt x="3236088" y="6024871"/>
                </a:cubicBezTo>
                <a:lnTo>
                  <a:pt x="3355781" y="6024871"/>
                </a:lnTo>
                <a:cubicBezTo>
                  <a:pt x="3355781" y="6024871"/>
                  <a:pt x="3356754" y="6015465"/>
                  <a:pt x="3356754" y="6011249"/>
                </a:cubicBezTo>
                <a:cubicBezTo>
                  <a:pt x="3356754" y="5968764"/>
                  <a:pt x="3332103" y="5934391"/>
                  <a:pt x="3285715" y="5934391"/>
                </a:cubicBezTo>
                <a:close/>
                <a:moveTo>
                  <a:pt x="2953524" y="5934391"/>
                </a:moveTo>
                <a:cubicBezTo>
                  <a:pt x="2931535" y="5934165"/>
                  <a:pt x="2910051" y="5940983"/>
                  <a:pt x="2892217" y="5953848"/>
                </a:cubicBezTo>
                <a:lnTo>
                  <a:pt x="2905189" y="5976872"/>
                </a:lnTo>
                <a:cubicBezTo>
                  <a:pt x="2918524" y="5967162"/>
                  <a:pt x="2934443" y="5961631"/>
                  <a:pt x="2950927" y="5960982"/>
                </a:cubicBezTo>
                <a:cubicBezTo>
                  <a:pt x="2971682" y="5960982"/>
                  <a:pt x="2986934" y="5970063"/>
                  <a:pt x="2986934" y="5996982"/>
                </a:cubicBezTo>
                <a:lnTo>
                  <a:pt x="2986934" y="5999900"/>
                </a:lnTo>
                <a:lnTo>
                  <a:pt x="2979791" y="5999900"/>
                </a:lnTo>
                <a:cubicBezTo>
                  <a:pt x="2952226" y="5999900"/>
                  <a:pt x="2880862" y="6002169"/>
                  <a:pt x="2880862" y="6056327"/>
                </a:cubicBezTo>
                <a:cubicBezTo>
                  <a:pt x="2880862" y="6089081"/>
                  <a:pt x="2908435" y="6106270"/>
                  <a:pt x="2936658" y="6106270"/>
                </a:cubicBezTo>
                <a:cubicBezTo>
                  <a:pt x="2959034" y="6106761"/>
                  <a:pt x="2979611" y="6094061"/>
                  <a:pt x="2989199" y="6073840"/>
                </a:cubicBezTo>
                <a:lnTo>
                  <a:pt x="2989847" y="6073840"/>
                </a:lnTo>
                <a:cubicBezTo>
                  <a:pt x="2989403" y="6078150"/>
                  <a:pt x="2989187" y="6082480"/>
                  <a:pt x="2989199" y="6086813"/>
                </a:cubicBezTo>
                <a:lnTo>
                  <a:pt x="2989199" y="6102379"/>
                </a:lnTo>
                <a:lnTo>
                  <a:pt x="3018394" y="6102379"/>
                </a:lnTo>
                <a:lnTo>
                  <a:pt x="3018394" y="5998601"/>
                </a:lnTo>
                <a:cubicBezTo>
                  <a:pt x="3018394" y="5957091"/>
                  <a:pt x="2995043" y="5934391"/>
                  <a:pt x="2953524" y="5934391"/>
                </a:cubicBezTo>
                <a:close/>
                <a:moveTo>
                  <a:pt x="2796867" y="5934391"/>
                </a:moveTo>
                <a:cubicBezTo>
                  <a:pt x="2755674" y="5934391"/>
                  <a:pt x="2741721" y="5964227"/>
                  <a:pt x="2741721" y="5964227"/>
                </a:cubicBezTo>
                <a:lnTo>
                  <a:pt x="2741072" y="5964227"/>
                </a:lnTo>
                <a:cubicBezTo>
                  <a:pt x="2741497" y="5960240"/>
                  <a:pt x="2741714" y="5956234"/>
                  <a:pt x="2741721" y="5952224"/>
                </a:cubicBezTo>
                <a:lnTo>
                  <a:pt x="2741721" y="5938282"/>
                </a:lnTo>
                <a:lnTo>
                  <a:pt x="2712857" y="5938282"/>
                </a:lnTo>
                <a:lnTo>
                  <a:pt x="2712857" y="6167243"/>
                </a:lnTo>
                <a:lnTo>
                  <a:pt x="2744318" y="6167243"/>
                </a:lnTo>
                <a:lnTo>
                  <a:pt x="2744318" y="6093620"/>
                </a:lnTo>
                <a:cubicBezTo>
                  <a:pt x="2744318" y="6085189"/>
                  <a:pt x="2743669" y="6079354"/>
                  <a:pt x="2743669" y="6079354"/>
                </a:cubicBezTo>
                <a:lnTo>
                  <a:pt x="2744318" y="6079354"/>
                </a:lnTo>
                <a:cubicBezTo>
                  <a:pt x="2755077" y="6096648"/>
                  <a:pt x="2774234" y="6106904"/>
                  <a:pt x="2794595" y="6106269"/>
                </a:cubicBezTo>
                <a:cubicBezTo>
                  <a:pt x="2837411" y="6106269"/>
                  <a:pt x="2868873" y="6072541"/>
                  <a:pt x="2868873" y="6020330"/>
                </a:cubicBezTo>
                <a:cubicBezTo>
                  <a:pt x="2868873" y="5969413"/>
                  <a:pt x="2840975" y="5934391"/>
                  <a:pt x="2796867" y="5934391"/>
                </a:cubicBezTo>
                <a:close/>
                <a:moveTo>
                  <a:pt x="3568802" y="5893205"/>
                </a:moveTo>
                <a:lnTo>
                  <a:pt x="3568802" y="5940551"/>
                </a:lnTo>
                <a:lnTo>
                  <a:pt x="3546424" y="5940551"/>
                </a:lnTo>
                <a:lnTo>
                  <a:pt x="3546424" y="5965847"/>
                </a:lnTo>
                <a:lnTo>
                  <a:pt x="3567829" y="5965847"/>
                </a:lnTo>
                <a:lnTo>
                  <a:pt x="3567829" y="6042385"/>
                </a:lnTo>
                <a:cubicBezTo>
                  <a:pt x="3567829" y="6097188"/>
                  <a:pt x="3609671" y="6103677"/>
                  <a:pt x="3630758" y="6103676"/>
                </a:cubicBezTo>
                <a:cubicBezTo>
                  <a:pt x="3634446" y="6103696"/>
                  <a:pt x="3638131" y="6103479"/>
                  <a:pt x="3641789" y="6103027"/>
                </a:cubicBezTo>
                <a:lnTo>
                  <a:pt x="3641789" y="6075138"/>
                </a:lnTo>
                <a:cubicBezTo>
                  <a:pt x="3639327" y="6075601"/>
                  <a:pt x="3636826" y="6075818"/>
                  <a:pt x="3634322" y="6075788"/>
                </a:cubicBezTo>
                <a:cubicBezTo>
                  <a:pt x="3622324" y="6075788"/>
                  <a:pt x="3599298" y="6071572"/>
                  <a:pt x="3599298" y="6038817"/>
                </a:cubicBezTo>
                <a:lnTo>
                  <a:pt x="3599298" y="5965847"/>
                </a:lnTo>
                <a:lnTo>
                  <a:pt x="3638867" y="5965847"/>
                </a:lnTo>
                <a:lnTo>
                  <a:pt x="3638867" y="5940551"/>
                </a:lnTo>
                <a:lnTo>
                  <a:pt x="3599298" y="5940551"/>
                </a:lnTo>
                <a:lnTo>
                  <a:pt x="3599298" y="5893205"/>
                </a:lnTo>
                <a:close/>
                <a:moveTo>
                  <a:pt x="3055985" y="5893205"/>
                </a:moveTo>
                <a:lnTo>
                  <a:pt x="3055985" y="5940551"/>
                </a:lnTo>
                <a:lnTo>
                  <a:pt x="3033606" y="5940551"/>
                </a:lnTo>
                <a:lnTo>
                  <a:pt x="3033606" y="5965847"/>
                </a:lnTo>
                <a:lnTo>
                  <a:pt x="3055012" y="5965847"/>
                </a:lnTo>
                <a:lnTo>
                  <a:pt x="3055012" y="6042385"/>
                </a:lnTo>
                <a:cubicBezTo>
                  <a:pt x="3055012" y="6097188"/>
                  <a:pt x="3096854" y="6103677"/>
                  <a:pt x="3117934" y="6103676"/>
                </a:cubicBezTo>
                <a:cubicBezTo>
                  <a:pt x="3121620" y="6103697"/>
                  <a:pt x="3125305" y="6103480"/>
                  <a:pt x="3128964" y="6103027"/>
                </a:cubicBezTo>
                <a:lnTo>
                  <a:pt x="3128964" y="6075138"/>
                </a:lnTo>
                <a:cubicBezTo>
                  <a:pt x="3126505" y="6075601"/>
                  <a:pt x="3124007" y="6075818"/>
                  <a:pt x="3121505" y="6075788"/>
                </a:cubicBezTo>
                <a:cubicBezTo>
                  <a:pt x="3109500" y="6075788"/>
                  <a:pt x="3086473" y="6071572"/>
                  <a:pt x="3086473" y="6038817"/>
                </a:cubicBezTo>
                <a:lnTo>
                  <a:pt x="3086473" y="5965847"/>
                </a:lnTo>
                <a:lnTo>
                  <a:pt x="3126043" y="5965847"/>
                </a:lnTo>
                <a:lnTo>
                  <a:pt x="3126043" y="5940551"/>
                </a:lnTo>
                <a:lnTo>
                  <a:pt x="3086473" y="5940551"/>
                </a:lnTo>
                <a:lnTo>
                  <a:pt x="3086473" y="5893205"/>
                </a:lnTo>
                <a:close/>
                <a:moveTo>
                  <a:pt x="2318901" y="5875367"/>
                </a:moveTo>
                <a:lnTo>
                  <a:pt x="2318901" y="6102378"/>
                </a:lnTo>
                <a:lnTo>
                  <a:pt x="2332529" y="6102378"/>
                </a:lnTo>
                <a:lnTo>
                  <a:pt x="2332529" y="6083895"/>
                </a:lnTo>
                <a:cubicBezTo>
                  <a:pt x="2332569" y="6079107"/>
                  <a:pt x="2332134" y="6074326"/>
                  <a:pt x="2331230" y="6069624"/>
                </a:cubicBezTo>
                <a:lnTo>
                  <a:pt x="2331880" y="6069624"/>
                </a:lnTo>
                <a:cubicBezTo>
                  <a:pt x="2331880" y="6069624"/>
                  <a:pt x="2347123" y="6106270"/>
                  <a:pt x="2387992" y="6106270"/>
                </a:cubicBezTo>
                <a:cubicBezTo>
                  <a:pt x="2430484" y="6106270"/>
                  <a:pt x="2460646" y="6072866"/>
                  <a:pt x="2460646" y="6021305"/>
                </a:cubicBezTo>
                <a:cubicBezTo>
                  <a:pt x="2460646" y="5971037"/>
                  <a:pt x="2434048" y="5936335"/>
                  <a:pt x="2390589" y="5936335"/>
                </a:cubicBezTo>
                <a:cubicBezTo>
                  <a:pt x="2365391" y="5935491"/>
                  <a:pt x="2342186" y="5949974"/>
                  <a:pt x="2331880" y="5972980"/>
                </a:cubicBezTo>
                <a:lnTo>
                  <a:pt x="2331230" y="5972980"/>
                </a:lnTo>
                <a:cubicBezTo>
                  <a:pt x="2332099" y="5968603"/>
                  <a:pt x="2332534" y="5964150"/>
                  <a:pt x="2332529" y="5959687"/>
                </a:cubicBezTo>
                <a:lnTo>
                  <a:pt x="2332529" y="5875367"/>
                </a:lnTo>
                <a:close/>
                <a:moveTo>
                  <a:pt x="2171335" y="5875367"/>
                </a:moveTo>
                <a:lnTo>
                  <a:pt x="2171335" y="5959687"/>
                </a:lnTo>
                <a:cubicBezTo>
                  <a:pt x="2171330" y="5964150"/>
                  <a:pt x="2171765" y="5968603"/>
                  <a:pt x="2172633" y="5972980"/>
                </a:cubicBezTo>
                <a:lnTo>
                  <a:pt x="2171984" y="5972980"/>
                </a:lnTo>
                <a:cubicBezTo>
                  <a:pt x="2171984" y="5972980"/>
                  <a:pt x="2156732" y="5936335"/>
                  <a:pt x="2115863" y="5936335"/>
                </a:cubicBezTo>
                <a:cubicBezTo>
                  <a:pt x="2073374" y="5936335"/>
                  <a:pt x="2043207" y="5969738"/>
                  <a:pt x="2043207" y="6021305"/>
                </a:cubicBezTo>
                <a:cubicBezTo>
                  <a:pt x="2043207" y="6071572"/>
                  <a:pt x="2069806" y="6106270"/>
                  <a:pt x="2113275" y="6106270"/>
                </a:cubicBezTo>
                <a:cubicBezTo>
                  <a:pt x="2138472" y="6107111"/>
                  <a:pt x="2161675" y="6092628"/>
                  <a:pt x="2171984" y="6069624"/>
                </a:cubicBezTo>
                <a:lnTo>
                  <a:pt x="2172633" y="6069624"/>
                </a:lnTo>
                <a:cubicBezTo>
                  <a:pt x="2171715" y="6073666"/>
                  <a:pt x="2171280" y="6077803"/>
                  <a:pt x="2171335" y="6081948"/>
                </a:cubicBezTo>
                <a:lnTo>
                  <a:pt x="2171335" y="6102378"/>
                </a:lnTo>
                <a:lnTo>
                  <a:pt x="2184955" y="6102378"/>
                </a:lnTo>
                <a:lnTo>
                  <a:pt x="2184955" y="5875367"/>
                </a:lnTo>
                <a:close/>
                <a:moveTo>
                  <a:pt x="1743547" y="5875367"/>
                </a:moveTo>
                <a:lnTo>
                  <a:pt x="1743547" y="5899040"/>
                </a:lnTo>
                <a:lnTo>
                  <a:pt x="1759765" y="5899040"/>
                </a:lnTo>
                <a:lnTo>
                  <a:pt x="1759765" y="5875367"/>
                </a:lnTo>
                <a:close/>
                <a:moveTo>
                  <a:pt x="1209673" y="5875367"/>
                </a:moveTo>
                <a:lnTo>
                  <a:pt x="1209673" y="6102378"/>
                </a:lnTo>
                <a:lnTo>
                  <a:pt x="1223622" y="6102378"/>
                </a:lnTo>
                <a:lnTo>
                  <a:pt x="1223622" y="5875367"/>
                </a:lnTo>
                <a:close/>
                <a:moveTo>
                  <a:pt x="740045" y="5875367"/>
                </a:moveTo>
                <a:cubicBezTo>
                  <a:pt x="865045" y="5894885"/>
                  <a:pt x="963105" y="5992926"/>
                  <a:pt x="982628" y="6117904"/>
                </a:cubicBezTo>
                <a:lnTo>
                  <a:pt x="982620" y="5875367"/>
                </a:lnTo>
                <a:close/>
                <a:moveTo>
                  <a:pt x="407989" y="5875366"/>
                </a:moveTo>
                <a:lnTo>
                  <a:pt x="407989" y="6117901"/>
                </a:lnTo>
                <a:cubicBezTo>
                  <a:pt x="427506" y="5992925"/>
                  <a:pt x="525563" y="5894884"/>
                  <a:pt x="650560" y="5875366"/>
                </a:cubicBezTo>
                <a:close/>
                <a:moveTo>
                  <a:pt x="693449" y="5875365"/>
                </a:moveTo>
                <a:lnTo>
                  <a:pt x="693449" y="6106201"/>
                </a:lnTo>
                <a:lnTo>
                  <a:pt x="685251" y="6106201"/>
                </a:lnTo>
                <a:lnTo>
                  <a:pt x="685251" y="6178022"/>
                </a:lnTo>
                <a:lnTo>
                  <a:pt x="655495" y="6178022"/>
                </a:lnTo>
                <a:lnTo>
                  <a:pt x="655495" y="6106201"/>
                </a:lnTo>
                <a:lnTo>
                  <a:pt x="617524" y="6106201"/>
                </a:lnTo>
                <a:lnTo>
                  <a:pt x="617524" y="6219053"/>
                </a:lnTo>
                <a:lnTo>
                  <a:pt x="693449" y="6219053"/>
                </a:lnTo>
                <a:lnTo>
                  <a:pt x="693449" y="6449904"/>
                </a:lnTo>
                <a:lnTo>
                  <a:pt x="697158" y="6449904"/>
                </a:lnTo>
                <a:lnTo>
                  <a:pt x="697158" y="6219053"/>
                </a:lnTo>
                <a:lnTo>
                  <a:pt x="726288" y="6219053"/>
                </a:lnTo>
                <a:lnTo>
                  <a:pt x="726288" y="6106201"/>
                </a:lnTo>
                <a:lnTo>
                  <a:pt x="697158" y="6106201"/>
                </a:lnTo>
                <a:lnTo>
                  <a:pt x="697154" y="5875365"/>
                </a:lnTo>
                <a:close/>
                <a:moveTo>
                  <a:pt x="3146995" y="5873419"/>
                </a:moveTo>
                <a:lnTo>
                  <a:pt x="3146995" y="5905528"/>
                </a:lnTo>
                <a:lnTo>
                  <a:pt x="3178780" y="5905528"/>
                </a:lnTo>
                <a:lnTo>
                  <a:pt x="3178780" y="5873419"/>
                </a:lnTo>
                <a:close/>
                <a:moveTo>
                  <a:pt x="5074981" y="3974428"/>
                </a:moveTo>
                <a:cubicBezTo>
                  <a:pt x="5308980" y="5220716"/>
                  <a:pt x="6284078" y="6195621"/>
                  <a:pt x="7530588" y="6429546"/>
                </a:cubicBezTo>
                <a:lnTo>
                  <a:pt x="5074981" y="6429546"/>
                </a:lnTo>
                <a:close/>
                <a:moveTo>
                  <a:pt x="11122964" y="3974190"/>
                </a:moveTo>
                <a:lnTo>
                  <a:pt x="11122964" y="6429463"/>
                </a:lnTo>
                <a:lnTo>
                  <a:pt x="8666920" y="6429463"/>
                </a:lnTo>
                <a:cubicBezTo>
                  <a:pt x="9913518" y="6195441"/>
                  <a:pt x="10888727" y="5220539"/>
                  <a:pt x="11122964" y="3974190"/>
                </a:cubicBezTo>
                <a:close/>
                <a:moveTo>
                  <a:pt x="5074885" y="3877086"/>
                </a:moveTo>
                <a:lnTo>
                  <a:pt x="5058713" y="3878325"/>
                </a:lnTo>
                <a:lnTo>
                  <a:pt x="5058713" y="6445810"/>
                </a:lnTo>
                <a:lnTo>
                  <a:pt x="7626641" y="6445810"/>
                </a:lnTo>
                <a:lnTo>
                  <a:pt x="7627884" y="6429641"/>
                </a:lnTo>
                <a:cubicBezTo>
                  <a:pt x="6311888" y="6225121"/>
                  <a:pt x="5279443" y="5192853"/>
                  <a:pt x="5074885" y="3877086"/>
                </a:cubicBezTo>
                <a:close/>
                <a:moveTo>
                  <a:pt x="11123059" y="3876995"/>
                </a:moveTo>
                <a:cubicBezTo>
                  <a:pt x="10918269" y="5192805"/>
                  <a:pt x="9885698" y="6225024"/>
                  <a:pt x="8569625" y="6429558"/>
                </a:cubicBezTo>
                <a:lnTo>
                  <a:pt x="8570868" y="6445727"/>
                </a:lnTo>
                <a:lnTo>
                  <a:pt x="11139231" y="6445727"/>
                </a:lnTo>
                <a:lnTo>
                  <a:pt x="11139231" y="3878238"/>
                </a:lnTo>
                <a:close/>
                <a:moveTo>
                  <a:pt x="5074862" y="382592"/>
                </a:moveTo>
                <a:lnTo>
                  <a:pt x="7530485" y="382592"/>
                </a:lnTo>
                <a:cubicBezTo>
                  <a:pt x="6283949" y="616774"/>
                  <a:pt x="5308909" y="1591792"/>
                  <a:pt x="5074862" y="2838143"/>
                </a:cubicBezTo>
                <a:close/>
                <a:moveTo>
                  <a:pt x="8666781" y="382485"/>
                </a:moveTo>
                <a:lnTo>
                  <a:pt x="11122821" y="382485"/>
                </a:lnTo>
                <a:lnTo>
                  <a:pt x="11122821" y="2838196"/>
                </a:lnTo>
                <a:cubicBezTo>
                  <a:pt x="10888566" y="1591774"/>
                  <a:pt x="9913411" y="616748"/>
                  <a:pt x="8666781" y="382485"/>
                </a:cubicBezTo>
                <a:close/>
                <a:moveTo>
                  <a:pt x="5058594" y="366328"/>
                </a:moveTo>
                <a:lnTo>
                  <a:pt x="5058594" y="2934247"/>
                </a:lnTo>
                <a:lnTo>
                  <a:pt x="5074766" y="2935488"/>
                </a:lnTo>
                <a:cubicBezTo>
                  <a:pt x="5279296" y="1619627"/>
                  <a:pt x="6311705" y="587215"/>
                  <a:pt x="7627761" y="382497"/>
                </a:cubicBezTo>
                <a:lnTo>
                  <a:pt x="7626518" y="366328"/>
                </a:lnTo>
                <a:close/>
                <a:moveTo>
                  <a:pt x="8570721" y="366221"/>
                </a:moveTo>
                <a:lnTo>
                  <a:pt x="8569478" y="382390"/>
                </a:lnTo>
                <a:cubicBezTo>
                  <a:pt x="9885660" y="587019"/>
                  <a:pt x="10918248" y="1619427"/>
                  <a:pt x="11122916" y="2935381"/>
                </a:cubicBezTo>
                <a:lnTo>
                  <a:pt x="11139088" y="2934139"/>
                </a:lnTo>
                <a:lnTo>
                  <a:pt x="11139088" y="366221"/>
                </a:lnTo>
                <a:close/>
                <a:moveTo>
                  <a:pt x="0" y="0"/>
                </a:moveTo>
                <a:lnTo>
                  <a:pt x="12191993" y="0"/>
                </a:lnTo>
                <a:lnTo>
                  <a:pt x="12191993" y="6857996"/>
                </a:lnTo>
                <a:lnTo>
                  <a:pt x="0" y="6857996"/>
                </a:lnTo>
                <a:close/>
              </a:path>
            </a:pathLst>
          </a:custGeom>
          <a:solidFill>
            <a:schemeClr val="tx1"/>
          </a:solidFill>
        </p:spPr>
        <p:txBody>
          <a:bodyPr wrap="square">
            <a:noAutofit/>
          </a:bodyPr>
          <a:lstStyle>
            <a:lvl1pPr>
              <a:defRPr>
                <a:solidFill>
                  <a:schemeClr val="bg1"/>
                </a:solidFill>
              </a:defRPr>
            </a:lvl1pPr>
          </a:lstStyle>
          <a:p>
            <a:r>
              <a:rPr lang="zh-CN" altLang="en-US"/>
              <a:t>单击图标添加图片</a:t>
            </a:r>
            <a:endParaRPr lang="en-BE"/>
          </a:p>
        </p:txBody>
      </p:sp>
      <p:sp>
        <p:nvSpPr>
          <p:cNvPr id="2" name="Title 1">
            <a:extLst>
              <a:ext uri="{FF2B5EF4-FFF2-40B4-BE49-F238E27FC236}">
                <a16:creationId xmlns:a16="http://schemas.microsoft.com/office/drawing/2014/main" id="{61ED276C-6DB4-C248-B8F8-A80AC7FEE43B}"/>
              </a:ext>
            </a:extLst>
          </p:cNvPr>
          <p:cNvSpPr>
            <a:spLocks noGrp="1"/>
          </p:cNvSpPr>
          <p:nvPr>
            <p:ph type="ctrTitle"/>
          </p:nvPr>
        </p:nvSpPr>
        <p:spPr>
          <a:xfrm>
            <a:off x="407988" y="2636534"/>
            <a:ext cx="4656381" cy="867930"/>
          </a:xfrm>
        </p:spPr>
        <p:txBody>
          <a:bodyPr wrap="square" rIns="36000" anchor="b">
            <a:spAutoFit/>
          </a:bodyPr>
          <a:lstStyle>
            <a:lvl1pPr algn="l">
              <a:defRPr sz="2800">
                <a:solidFill>
                  <a:schemeClr val="bg1"/>
                </a:solidFill>
                <a:latin typeface="+mj-lt"/>
              </a:defRPr>
            </a:lvl1pPr>
          </a:lstStyle>
          <a:p>
            <a:r>
              <a:rPr lang="zh-CN" altLang="en-US"/>
              <a:t>单击此处编辑母版标题样式</a:t>
            </a:r>
            <a:endParaRPr lang="en-BE" dirty="0"/>
          </a:p>
        </p:txBody>
      </p:sp>
      <p:sp>
        <p:nvSpPr>
          <p:cNvPr id="3" name="Subtitle 2">
            <a:extLst>
              <a:ext uri="{FF2B5EF4-FFF2-40B4-BE49-F238E27FC236}">
                <a16:creationId xmlns:a16="http://schemas.microsoft.com/office/drawing/2014/main" id="{583290F0-62FD-6446-BD33-1B3A80AD042D}"/>
              </a:ext>
            </a:extLst>
          </p:cNvPr>
          <p:cNvSpPr>
            <a:spLocks noGrp="1"/>
          </p:cNvSpPr>
          <p:nvPr>
            <p:ph type="subTitle" idx="1"/>
          </p:nvPr>
        </p:nvSpPr>
        <p:spPr>
          <a:xfrm>
            <a:off x="407988" y="3596539"/>
            <a:ext cx="4656381" cy="313932"/>
          </a:xfrm>
        </p:spPr>
        <p:txBody>
          <a:bodyPr wrap="square" rIns="36000">
            <a:spAutoFit/>
          </a:bodyPr>
          <a:lstStyle>
            <a:lvl1pPr marL="0" indent="0" algn="l">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BE" dirty="0"/>
          </a:p>
        </p:txBody>
      </p:sp>
      <p:sp>
        <p:nvSpPr>
          <p:cNvPr id="10" name="Footer Placeholder 4">
            <a:extLst>
              <a:ext uri="{FF2B5EF4-FFF2-40B4-BE49-F238E27FC236}">
                <a16:creationId xmlns:a16="http://schemas.microsoft.com/office/drawing/2014/main" id="{F3DF0697-75B6-104D-AADC-B7E50CA194E7}"/>
              </a:ext>
            </a:extLst>
          </p:cNvPr>
          <p:cNvSpPr>
            <a:spLocks noGrp="1"/>
          </p:cNvSpPr>
          <p:nvPr>
            <p:ph type="ftr" sz="quarter" idx="3"/>
          </p:nvPr>
        </p:nvSpPr>
        <p:spPr>
          <a:xfrm>
            <a:off x="4538445" y="6547006"/>
            <a:ext cx="7127920" cy="123111"/>
          </a:xfrm>
          <a:prstGeom prst="rect">
            <a:avLst/>
          </a:prstGeom>
        </p:spPr>
        <p:txBody>
          <a:bodyPr vert="horz" wrap="square" lIns="0" tIns="0" rIns="0" bIns="0" rtlCol="0" anchor="b">
            <a:spAutoFit/>
          </a:bodyPr>
          <a:lstStyle>
            <a:lvl1pPr algn="ctr">
              <a:defRPr sz="800">
                <a:solidFill>
                  <a:schemeClr val="bg1"/>
                </a:solidFill>
              </a:defRPr>
            </a:lvl1pPr>
          </a:lstStyle>
          <a:p>
            <a:r>
              <a:rPr lang="en-GB" dirty="0"/>
              <a:t>UCB Team Name [XXXXXXX] - UCB - Approval [XX-XX-XXX] - Approval date [XX Month XXXX] ! GO TO INSERT&gt;HEADER FOOTER to change. </a:t>
            </a:r>
            <a:endParaRPr lang="en-BE" dirty="0"/>
          </a:p>
        </p:txBody>
      </p:sp>
    </p:spTree>
    <p:extLst>
      <p:ext uri="{BB962C8B-B14F-4D97-AF65-F5344CB8AC3E}">
        <p14:creationId xmlns:p14="http://schemas.microsoft.com/office/powerpoint/2010/main" val="3951509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ulle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nchor="t">
            <a:spAutoFit/>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11339946"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Tree>
    <p:extLst>
      <p:ext uri="{BB962C8B-B14F-4D97-AF65-F5344CB8AC3E}">
        <p14:creationId xmlns:p14="http://schemas.microsoft.com/office/powerpoint/2010/main" val="2262230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ullete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11339946"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277776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hasCustomPrompt="1"/>
          </p:nvPr>
        </p:nvSpPr>
        <p:spPr>
          <a:xfrm>
            <a:off x="426027" y="2948087"/>
            <a:ext cx="1924897" cy="480131"/>
          </a:xfrm>
        </p:spPr>
        <p:txBody>
          <a:bodyPr wrap="square" anchor="ctr">
            <a:spAutoFit/>
          </a:bodyPr>
          <a:lstStyle/>
          <a:p>
            <a:r>
              <a:rPr lang="en-GB" dirty="0"/>
              <a:t>Agenda</a:t>
            </a:r>
            <a:endParaRPr lang="en-BE" dirty="0"/>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2350924" y="1072444"/>
            <a:ext cx="9415049" cy="4231418"/>
          </a:xfrm>
        </p:spPr>
        <p:txBody>
          <a:bodyPr rIns="72000" anchor="ctr">
            <a:normAutofit/>
          </a:bodyPr>
          <a:lstStyle>
            <a:lvl1pPr marL="342900" indent="-342900">
              <a:buFont typeface="+mj-lt"/>
              <a:buAutoNum type="arabicPeriod"/>
              <a:defRPr sz="1800"/>
            </a:lvl1pPr>
            <a:lvl2pPr marL="800100" indent="-342900">
              <a:buFont typeface="+mj-lt"/>
              <a:buAutoNum type="arabicPeriod"/>
              <a:defRPr sz="1600"/>
            </a:lvl2pPr>
            <a:lvl3pPr>
              <a:buFont typeface="+mj-lt"/>
              <a:buAutoNum type="arabicPeriod"/>
              <a:defRPr sz="1400"/>
            </a:lvl3pPr>
            <a:lvl4pPr>
              <a:buFont typeface="+mj-lt"/>
              <a:buAutoNum type="arabicPeriod"/>
              <a:defRPr sz="1200"/>
            </a:lvl4pPr>
            <a:lvl5pPr>
              <a:buFont typeface="+mj-lt"/>
              <a:buAutoNum type="arabicPeriod"/>
              <a:defRPr sz="12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pic>
        <p:nvPicPr>
          <p:cNvPr id="11" name="Graphic 10">
            <a:extLst>
              <a:ext uri="{FF2B5EF4-FFF2-40B4-BE49-F238E27FC236}">
                <a16:creationId xmlns:a16="http://schemas.microsoft.com/office/drawing/2014/main" id="{6BAC6D8C-4CD7-404E-803B-9C1856B74D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57" name="Freeform 5">
            <a:extLst>
              <a:ext uri="{FF2B5EF4-FFF2-40B4-BE49-F238E27FC236}">
                <a16:creationId xmlns:a16="http://schemas.microsoft.com/office/drawing/2014/main" id="{34A1DC10-00A7-8F4E-B794-229E5F875B78}"/>
              </a:ext>
            </a:extLst>
          </p:cNvPr>
          <p:cNvSpPr>
            <a:spLocks/>
          </p:cNvSpPr>
          <p:nvPr/>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pic>
        <p:nvPicPr>
          <p:cNvPr id="9" name="Graphic 8">
            <a:extLst>
              <a:ext uri="{FF2B5EF4-FFF2-40B4-BE49-F238E27FC236}">
                <a16:creationId xmlns:a16="http://schemas.microsoft.com/office/drawing/2014/main" id="{99F642E9-70FA-1247-BA86-AF1A80340F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10" name="Freeform 5">
            <a:extLst>
              <a:ext uri="{FF2B5EF4-FFF2-40B4-BE49-F238E27FC236}">
                <a16:creationId xmlns:a16="http://schemas.microsoft.com/office/drawing/2014/main" id="{B9E80466-0F67-B749-B46F-1A7900249BBA}"/>
              </a:ext>
            </a:extLst>
          </p:cNvPr>
          <p:cNvSpPr>
            <a:spLocks/>
          </p:cNvSpPr>
          <p:nvPr userDrawn="1"/>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91622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nchor="t">
            <a:spAutoFit/>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Tree>
    <p:extLst>
      <p:ext uri="{BB962C8B-B14F-4D97-AF65-F5344CB8AC3E}">
        <p14:creationId xmlns:p14="http://schemas.microsoft.com/office/powerpoint/2010/main" val="314248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790385"/>
            <a:ext cx="11339946" cy="400110"/>
          </a:xfrm>
        </p:spPr>
        <p:txBody>
          <a:bodyPr wrap="square" anchor="t">
            <a:sp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244781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Grey background">
    <p:bg>
      <p:bgPr>
        <a:solidFill>
          <a:schemeClr val="bg1">
            <a:lumMod val="95000"/>
            <a:alpha val="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46910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oub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5572101"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193874" y="1412875"/>
            <a:ext cx="5572101"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spTree>
    <p:extLst>
      <p:ext uri="{BB962C8B-B14F-4D97-AF65-F5344CB8AC3E}">
        <p14:creationId xmlns:p14="http://schemas.microsoft.com/office/powerpoint/2010/main" val="3551347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ouble content w 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dirty="0"/>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925053"/>
            <a:ext cx="5572101" cy="418364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193874" y="1925053"/>
            <a:ext cx="5572101" cy="418364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sp>
        <p:nvSpPr>
          <p:cNvPr id="5" name="Text Placeholder 4">
            <a:extLst>
              <a:ext uri="{FF2B5EF4-FFF2-40B4-BE49-F238E27FC236}">
                <a16:creationId xmlns:a16="http://schemas.microsoft.com/office/drawing/2014/main" id="{3D727D5C-5A0E-0846-8C0F-CCCCCECE26EA}"/>
              </a:ext>
            </a:extLst>
          </p:cNvPr>
          <p:cNvSpPr>
            <a:spLocks noGrp="1"/>
          </p:cNvSpPr>
          <p:nvPr>
            <p:ph type="body" sz="quarter" idx="15"/>
          </p:nvPr>
        </p:nvSpPr>
        <p:spPr>
          <a:xfrm>
            <a:off x="425450" y="1432917"/>
            <a:ext cx="5572101" cy="369332"/>
          </a:xfrm>
        </p:spPr>
        <p:txBody>
          <a:bodyPr wrap="square" anchor="b">
            <a:spAutoFit/>
          </a:bodyPr>
          <a:lstStyle>
            <a:lvl1pPr marL="0" indent="0">
              <a:lnSpc>
                <a:spcPct val="100000"/>
              </a:lnSpc>
              <a:spcBef>
                <a:spcPts val="0"/>
              </a:spcBef>
              <a:buNone/>
              <a:defRPr sz="1800" b="1">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10" name="Text Placeholder 4">
            <a:extLst>
              <a:ext uri="{FF2B5EF4-FFF2-40B4-BE49-F238E27FC236}">
                <a16:creationId xmlns:a16="http://schemas.microsoft.com/office/drawing/2014/main" id="{F3272EEB-918D-1E46-8C24-CD246EDC6A16}"/>
              </a:ext>
            </a:extLst>
          </p:cNvPr>
          <p:cNvSpPr>
            <a:spLocks noGrp="1"/>
          </p:cNvSpPr>
          <p:nvPr>
            <p:ph type="body" sz="quarter" idx="16"/>
          </p:nvPr>
        </p:nvSpPr>
        <p:spPr>
          <a:xfrm>
            <a:off x="6193872" y="1432917"/>
            <a:ext cx="5572101" cy="369332"/>
          </a:xfrm>
        </p:spPr>
        <p:txBody>
          <a:bodyPr wrap="square" anchor="b">
            <a:spAutoFit/>
          </a:bodyPr>
          <a:lstStyle>
            <a:lvl1pPr marL="0" indent="0">
              <a:lnSpc>
                <a:spcPct val="100000"/>
              </a:lnSpc>
              <a:spcBef>
                <a:spcPts val="0"/>
              </a:spcBef>
              <a:buNone/>
              <a:defRPr sz="1800" b="1">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122987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ingle content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5572101"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209833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ullete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11339946"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219021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mag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5598246" y="264598"/>
            <a:ext cx="5399548" cy="480131"/>
          </a:xfrm>
        </p:spPr>
        <p:txBody>
          <a:bodyPr/>
          <a:lstStyle/>
          <a:p>
            <a:r>
              <a:rPr lang="zh-CN" altLang="en-US"/>
              <a:t>单击此处编辑母版标题样式</a:t>
            </a:r>
            <a:endParaRPr lang="en-BE" dirty="0"/>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5598246" y="805774"/>
            <a:ext cx="5399548" cy="400110"/>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10" name="Picture Placeholder 47">
            <a:extLst>
              <a:ext uri="{FF2B5EF4-FFF2-40B4-BE49-F238E27FC236}">
                <a16:creationId xmlns:a16="http://schemas.microsoft.com/office/drawing/2014/main" id="{C6681D1E-D330-9E42-B1B1-C48A4D7629F0}"/>
              </a:ext>
            </a:extLst>
          </p:cNvPr>
          <p:cNvSpPr>
            <a:spLocks noGrp="1"/>
          </p:cNvSpPr>
          <p:nvPr>
            <p:ph type="pic" sz="quarter" idx="19"/>
          </p:nvPr>
        </p:nvSpPr>
        <p:spPr>
          <a:xfrm>
            <a:off x="407988" y="336265"/>
            <a:ext cx="4980976" cy="5772435"/>
          </a:xfrm>
          <a:custGeom>
            <a:avLst/>
            <a:gdLst>
              <a:gd name="connsiteX0" fmla="*/ 195256 w 5084529"/>
              <a:gd name="connsiteY0" fmla="*/ 200195 h 5940425"/>
              <a:gd name="connsiteX1" fmla="*/ 830029 w 5084529"/>
              <a:gd name="connsiteY1" fmla="*/ 200195 h 5940425"/>
              <a:gd name="connsiteX2" fmla="*/ 422378 w 5084529"/>
              <a:gd name="connsiteY2" fmla="*/ 432030 h 5940425"/>
              <a:gd name="connsiteX3" fmla="*/ 195383 w 5084529"/>
              <a:gd name="connsiteY3" fmla="*/ 846590 h 5940425"/>
              <a:gd name="connsiteX4" fmla="*/ 182624 w 5084529"/>
              <a:gd name="connsiteY4" fmla="*/ 187362 h 5940425"/>
              <a:gd name="connsiteX5" fmla="*/ 182624 w 5084529"/>
              <a:gd name="connsiteY5" fmla="*/ 913936 h 5940425"/>
              <a:gd name="connsiteX6" fmla="*/ 195320 w 5084529"/>
              <a:gd name="connsiteY6" fmla="*/ 914889 h 5940425"/>
              <a:gd name="connsiteX7" fmla="*/ 431645 w 5084529"/>
              <a:gd name="connsiteY7" fmla="*/ 440799 h 5940425"/>
              <a:gd name="connsiteX8" fmla="*/ 896045 w 5084529"/>
              <a:gd name="connsiteY8" fmla="*/ 200068 h 5940425"/>
              <a:gd name="connsiteX9" fmla="*/ 895029 w 5084529"/>
              <a:gd name="connsiteY9" fmla="*/ 187362 h 5940425"/>
              <a:gd name="connsiteX10" fmla="*/ 0 w 5084529"/>
              <a:gd name="connsiteY10" fmla="*/ 0 h 5940425"/>
              <a:gd name="connsiteX11" fmla="*/ 5084529 w 5084529"/>
              <a:gd name="connsiteY11" fmla="*/ 0 h 5940425"/>
              <a:gd name="connsiteX12" fmla="*/ 5084529 w 5084529"/>
              <a:gd name="connsiteY12" fmla="*/ 5940425 h 5940425"/>
              <a:gd name="connsiteX13" fmla="*/ 0 w 5084529"/>
              <a:gd name="connsiteY13" fmla="*/ 5940425 h 594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84529" h="5940425">
                <a:moveTo>
                  <a:pt x="195256" y="200195"/>
                </a:moveTo>
                <a:lnTo>
                  <a:pt x="830029" y="200195"/>
                </a:lnTo>
                <a:cubicBezTo>
                  <a:pt x="674944" y="237256"/>
                  <a:pt x="533572" y="317656"/>
                  <a:pt x="422378" y="432030"/>
                </a:cubicBezTo>
                <a:cubicBezTo>
                  <a:pt x="309817" y="546511"/>
                  <a:pt x="231233" y="690030"/>
                  <a:pt x="195383" y="846590"/>
                </a:cubicBezTo>
                <a:close/>
                <a:moveTo>
                  <a:pt x="182624" y="187362"/>
                </a:moveTo>
                <a:lnTo>
                  <a:pt x="182624" y="913936"/>
                </a:lnTo>
                <a:lnTo>
                  <a:pt x="195320" y="914889"/>
                </a:lnTo>
                <a:cubicBezTo>
                  <a:pt x="222003" y="735815"/>
                  <a:pt x="304745" y="569827"/>
                  <a:pt x="431645" y="440799"/>
                </a:cubicBezTo>
                <a:cubicBezTo>
                  <a:pt x="556385" y="312431"/>
                  <a:pt x="719320" y="227970"/>
                  <a:pt x="896045" y="200068"/>
                </a:cubicBezTo>
                <a:lnTo>
                  <a:pt x="895029" y="187362"/>
                </a:lnTo>
                <a:close/>
                <a:moveTo>
                  <a:pt x="0" y="0"/>
                </a:moveTo>
                <a:lnTo>
                  <a:pt x="5084529" y="0"/>
                </a:lnTo>
                <a:lnTo>
                  <a:pt x="5084529" y="5940425"/>
                </a:lnTo>
                <a:lnTo>
                  <a:pt x="0" y="5940425"/>
                </a:lnTo>
                <a:close/>
              </a:path>
            </a:pathLst>
          </a:custGeom>
          <a:solidFill>
            <a:schemeClr val="bg2"/>
          </a:solidFill>
        </p:spPr>
        <p:txBody>
          <a:bodyPr wrap="square">
            <a:noAutofit/>
          </a:bodyPr>
          <a:lstStyle>
            <a:lvl1pPr marL="0" indent="0">
              <a:buNone/>
              <a:defRPr/>
            </a:lvl1pPr>
          </a:lstStyle>
          <a:p>
            <a:r>
              <a:rPr lang="zh-CN" altLang="en-US"/>
              <a:t>单击图标添加图片</a:t>
            </a:r>
            <a:endParaRPr lang="en-GB"/>
          </a:p>
        </p:txBody>
      </p:sp>
      <p:sp>
        <p:nvSpPr>
          <p:cNvPr id="11" name="Freeform 5">
            <a:extLst>
              <a:ext uri="{FF2B5EF4-FFF2-40B4-BE49-F238E27FC236}">
                <a16:creationId xmlns:a16="http://schemas.microsoft.com/office/drawing/2014/main" id="{9DBD75DD-0082-5D47-BDDB-BF00387E98E6}"/>
              </a:ext>
            </a:extLst>
          </p:cNvPr>
          <p:cNvSpPr>
            <a:spLocks/>
          </p:cNvSpPr>
          <p:nvPr/>
        </p:nvSpPr>
        <p:spPr bwMode="auto">
          <a:xfrm rot="16200000" flipH="1">
            <a:off x="11248024" y="5405188"/>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4" name="Content Placeholder 7">
            <a:extLst>
              <a:ext uri="{FF2B5EF4-FFF2-40B4-BE49-F238E27FC236}">
                <a16:creationId xmlns:a16="http://schemas.microsoft.com/office/drawing/2014/main" id="{0190FF4E-3BF7-B64B-A048-4A7F0F929204}"/>
              </a:ext>
            </a:extLst>
          </p:cNvPr>
          <p:cNvSpPr>
            <a:spLocks noGrp="1"/>
          </p:cNvSpPr>
          <p:nvPr>
            <p:ph sz="quarter" idx="14"/>
          </p:nvPr>
        </p:nvSpPr>
        <p:spPr>
          <a:xfrm>
            <a:off x="5580749" y="1476531"/>
            <a:ext cx="5417045" cy="463216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sp>
        <p:nvSpPr>
          <p:cNvPr id="9" name="Freeform 5">
            <a:extLst>
              <a:ext uri="{FF2B5EF4-FFF2-40B4-BE49-F238E27FC236}">
                <a16:creationId xmlns:a16="http://schemas.microsoft.com/office/drawing/2014/main" id="{F789CB9A-7CAB-ED4F-8023-756B4C589680}"/>
              </a:ext>
            </a:extLst>
          </p:cNvPr>
          <p:cNvSpPr>
            <a:spLocks/>
          </p:cNvSpPr>
          <p:nvPr userDrawn="1"/>
        </p:nvSpPr>
        <p:spPr bwMode="auto">
          <a:xfrm rot="16200000" flipH="1">
            <a:off x="11248024" y="5405188"/>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601281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ouble content blue corn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776288" y="973983"/>
            <a:ext cx="5399548" cy="480131"/>
          </a:xfrm>
        </p:spPr>
        <p:txBody>
          <a:bodyPr/>
          <a:lstStyle/>
          <a:p>
            <a:r>
              <a:rPr lang="zh-CN" altLang="en-US"/>
              <a:t>单击此处编辑母版标题样式</a:t>
            </a:r>
            <a:endParaRPr lang="en-BE" dirty="0"/>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776288" y="1521489"/>
            <a:ext cx="5399548" cy="400110"/>
          </a:xfrm>
        </p:spPr>
        <p:txBody>
          <a:bodyPr wrap="square" anchor="t">
            <a:sp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509971" y="973983"/>
            <a:ext cx="4939908" cy="4695825"/>
          </a:xfrm>
        </p:spPr>
        <p:txBody>
          <a:bodyPr/>
          <a:lstStyle/>
          <a:p>
            <a:pPr lvl="0"/>
            <a:r>
              <a:rPr lang="zh-CN" altLang="en-US"/>
              <a:t>单击此处编辑母版文本样式</a:t>
            </a:r>
          </a:p>
        </p:txBody>
      </p:sp>
      <p:pic>
        <p:nvPicPr>
          <p:cNvPr id="12" name="Graphic 11">
            <a:extLst>
              <a:ext uri="{FF2B5EF4-FFF2-40B4-BE49-F238E27FC236}">
                <a16:creationId xmlns:a16="http://schemas.microsoft.com/office/drawing/2014/main" id="{581192B2-F45A-B845-80ED-C263E992FB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13" name="Freeform 5">
            <a:extLst>
              <a:ext uri="{FF2B5EF4-FFF2-40B4-BE49-F238E27FC236}">
                <a16:creationId xmlns:a16="http://schemas.microsoft.com/office/drawing/2014/main" id="{8FB8FAAA-F7C9-494E-B088-EDFF247E0C50}"/>
              </a:ext>
            </a:extLst>
          </p:cNvPr>
          <p:cNvSpPr>
            <a:spLocks/>
          </p:cNvSpPr>
          <p:nvPr/>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Content Placeholder 7">
            <a:extLst>
              <a:ext uri="{FF2B5EF4-FFF2-40B4-BE49-F238E27FC236}">
                <a16:creationId xmlns:a16="http://schemas.microsoft.com/office/drawing/2014/main" id="{C0F03F8C-A030-9A44-8698-81FC663C2FDD}"/>
              </a:ext>
            </a:extLst>
          </p:cNvPr>
          <p:cNvSpPr>
            <a:spLocks noGrp="1"/>
          </p:cNvSpPr>
          <p:nvPr>
            <p:ph sz="quarter" idx="12"/>
          </p:nvPr>
        </p:nvSpPr>
        <p:spPr>
          <a:xfrm>
            <a:off x="776288" y="2040629"/>
            <a:ext cx="5399548" cy="362917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pic>
        <p:nvPicPr>
          <p:cNvPr id="11" name="Graphic 10">
            <a:extLst>
              <a:ext uri="{FF2B5EF4-FFF2-40B4-BE49-F238E27FC236}">
                <a16:creationId xmlns:a16="http://schemas.microsoft.com/office/drawing/2014/main" id="{111FA9B9-CFAD-7D46-92AE-7285C14C8BC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14" name="Freeform 5">
            <a:extLst>
              <a:ext uri="{FF2B5EF4-FFF2-40B4-BE49-F238E27FC236}">
                <a16:creationId xmlns:a16="http://schemas.microsoft.com/office/drawing/2014/main" id="{859D98E4-9191-0345-AD56-18E972C0A1F4}"/>
              </a:ext>
            </a:extLst>
          </p:cNvPr>
          <p:cNvSpPr>
            <a:spLocks/>
          </p:cNvSpPr>
          <p:nvPr userDrawn="1"/>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0626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ouble content grey corner">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21EFE6BB-2ABE-CD4B-8929-B51CE9BB66BF}"/>
              </a:ext>
            </a:extLst>
          </p:cNvPr>
          <p:cNvSpPr>
            <a:spLocks/>
          </p:cNvSpPr>
          <p:nvPr/>
        </p:nvSpPr>
        <p:spPr bwMode="auto">
          <a:xfrm flipH="1">
            <a:off x="1393" y="2234871"/>
            <a:ext cx="4578350" cy="4622935"/>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776288" y="973983"/>
            <a:ext cx="5399548" cy="480131"/>
          </a:xfrm>
        </p:spPr>
        <p:txBody>
          <a:bodyPr/>
          <a:lstStyle/>
          <a:p>
            <a:r>
              <a:rPr lang="zh-CN" altLang="en-US"/>
              <a:t>单击此处编辑母版标题样式</a:t>
            </a:r>
            <a:endParaRPr lang="en-BE" dirty="0"/>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dirty="0"/>
              <a:t>References</a:t>
            </a:r>
            <a:endParaRPr lang="en-BE" dirty="0"/>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776288" y="1521489"/>
            <a:ext cx="5399548" cy="400110"/>
          </a:xfrm>
        </p:spPr>
        <p:txBody>
          <a:bodyPr wrap="square" anchor="t">
            <a:sp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509971" y="973983"/>
            <a:ext cx="4939908" cy="4695825"/>
          </a:xfrm>
        </p:spPr>
        <p:txBody>
          <a:bodyPr/>
          <a:lstStyle/>
          <a:p>
            <a:pPr lvl="0"/>
            <a:r>
              <a:rPr lang="zh-CN" altLang="en-US"/>
              <a:t>单击此处编辑母版文本样式</a:t>
            </a:r>
          </a:p>
        </p:txBody>
      </p:sp>
      <p:sp>
        <p:nvSpPr>
          <p:cNvPr id="15" name="TextBox 14">
            <a:extLst>
              <a:ext uri="{FF2B5EF4-FFF2-40B4-BE49-F238E27FC236}">
                <a16:creationId xmlns:a16="http://schemas.microsoft.com/office/drawing/2014/main" id="{4854BDDB-5BC7-D04A-8AD4-10F6106E5870}"/>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dirty="0">
              <a:solidFill>
                <a:schemeClr val="tx1"/>
              </a:solidFill>
            </a:endParaRPr>
          </a:p>
        </p:txBody>
      </p:sp>
      <p:grpSp>
        <p:nvGrpSpPr>
          <p:cNvPr id="16" name="Group 15">
            <a:extLst>
              <a:ext uri="{FF2B5EF4-FFF2-40B4-BE49-F238E27FC236}">
                <a16:creationId xmlns:a16="http://schemas.microsoft.com/office/drawing/2014/main" id="{6AF053E2-0ACA-F648-9DD6-CF48A635D4F8}"/>
              </a:ext>
            </a:extLst>
          </p:cNvPr>
          <p:cNvGrpSpPr/>
          <p:nvPr/>
        </p:nvGrpSpPr>
        <p:grpSpPr>
          <a:xfrm>
            <a:off x="417651" y="6383294"/>
            <a:ext cx="1579562" cy="304766"/>
            <a:chOff x="769938" y="419101"/>
            <a:chExt cx="12193588" cy="2352675"/>
          </a:xfrm>
          <a:solidFill>
            <a:schemeClr val="accent1"/>
          </a:solidFill>
        </p:grpSpPr>
        <p:sp>
          <p:nvSpPr>
            <p:cNvPr id="17" name="Freeform 16">
              <a:extLst>
                <a:ext uri="{FF2B5EF4-FFF2-40B4-BE49-F238E27FC236}">
                  <a16:creationId xmlns:a16="http://schemas.microsoft.com/office/drawing/2014/main" id="{8877EFD0-1E53-4A47-80F7-A926D2F1CAF6}"/>
                </a:ext>
              </a:extLst>
            </p:cNvPr>
            <p:cNvSpPr>
              <a:spLocks/>
            </p:cNvSpPr>
            <p:nvPr/>
          </p:nvSpPr>
          <p:spPr bwMode="auto">
            <a:xfrm>
              <a:off x="1946276" y="419101"/>
              <a:ext cx="858838" cy="889000"/>
            </a:xfrm>
            <a:custGeom>
              <a:avLst/>
              <a:gdLst>
                <a:gd name="T0" fmla="*/ 452 w 452"/>
                <a:gd name="T1" fmla="*/ 467 h 467"/>
                <a:gd name="T2" fmla="*/ 452 w 452"/>
                <a:gd name="T3" fmla="*/ 0 h 467"/>
                <a:gd name="T4" fmla="*/ 0 w 452"/>
                <a:gd name="T5" fmla="*/ 0 h 467"/>
                <a:gd name="T6" fmla="*/ 452 w 452"/>
                <a:gd name="T7" fmla="*/ 467 h 467"/>
              </a:gdLst>
              <a:ahLst/>
              <a:cxnLst>
                <a:cxn ang="0">
                  <a:pos x="T0" y="T1"/>
                </a:cxn>
                <a:cxn ang="0">
                  <a:pos x="T2" y="T3"/>
                </a:cxn>
                <a:cxn ang="0">
                  <a:pos x="T4" y="T5"/>
                </a:cxn>
                <a:cxn ang="0">
                  <a:pos x="T6" y="T7"/>
                </a:cxn>
              </a:cxnLst>
              <a:rect l="0" t="0" r="r" b="b"/>
              <a:pathLst>
                <a:path w="452" h="467">
                  <a:moveTo>
                    <a:pt x="452" y="467"/>
                  </a:moveTo>
                  <a:cubicBezTo>
                    <a:pt x="452" y="0"/>
                    <a:pt x="452" y="0"/>
                    <a:pt x="452" y="0"/>
                  </a:cubicBezTo>
                  <a:cubicBezTo>
                    <a:pt x="0" y="0"/>
                    <a:pt x="0" y="0"/>
                    <a:pt x="0" y="0"/>
                  </a:cubicBezTo>
                  <a:cubicBezTo>
                    <a:pt x="233" y="37"/>
                    <a:pt x="416" y="227"/>
                    <a:pt x="452"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8" name="Freeform 17">
              <a:extLst>
                <a:ext uri="{FF2B5EF4-FFF2-40B4-BE49-F238E27FC236}">
                  <a16:creationId xmlns:a16="http://schemas.microsoft.com/office/drawing/2014/main" id="{05B94AA3-7F1D-AA44-9A34-46345ACC0575}"/>
                </a:ext>
              </a:extLst>
            </p:cNvPr>
            <p:cNvSpPr>
              <a:spLocks/>
            </p:cNvSpPr>
            <p:nvPr/>
          </p:nvSpPr>
          <p:spPr bwMode="auto">
            <a:xfrm>
              <a:off x="769938" y="419101"/>
              <a:ext cx="858838" cy="889000"/>
            </a:xfrm>
            <a:custGeom>
              <a:avLst/>
              <a:gdLst>
                <a:gd name="T0" fmla="*/ 452 w 452"/>
                <a:gd name="T1" fmla="*/ 0 h 467"/>
                <a:gd name="T2" fmla="*/ 0 w 452"/>
                <a:gd name="T3" fmla="*/ 0 h 467"/>
                <a:gd name="T4" fmla="*/ 0 w 452"/>
                <a:gd name="T5" fmla="*/ 467 h 467"/>
                <a:gd name="T6" fmla="*/ 452 w 452"/>
                <a:gd name="T7" fmla="*/ 0 h 467"/>
              </a:gdLst>
              <a:ahLst/>
              <a:cxnLst>
                <a:cxn ang="0">
                  <a:pos x="T0" y="T1"/>
                </a:cxn>
                <a:cxn ang="0">
                  <a:pos x="T2" y="T3"/>
                </a:cxn>
                <a:cxn ang="0">
                  <a:pos x="T4" y="T5"/>
                </a:cxn>
                <a:cxn ang="0">
                  <a:pos x="T6" y="T7"/>
                </a:cxn>
              </a:cxnLst>
              <a:rect l="0" t="0" r="r" b="b"/>
              <a:pathLst>
                <a:path w="452" h="467">
                  <a:moveTo>
                    <a:pt x="452" y="0"/>
                  </a:moveTo>
                  <a:cubicBezTo>
                    <a:pt x="0" y="0"/>
                    <a:pt x="0" y="0"/>
                    <a:pt x="0" y="0"/>
                  </a:cubicBezTo>
                  <a:cubicBezTo>
                    <a:pt x="0" y="467"/>
                    <a:pt x="0" y="467"/>
                    <a:pt x="0" y="467"/>
                  </a:cubicBezTo>
                  <a:cubicBezTo>
                    <a:pt x="36" y="227"/>
                    <a:pt x="220" y="37"/>
                    <a:pt x="452"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19" name="Freeform 18">
              <a:extLst>
                <a:ext uri="{FF2B5EF4-FFF2-40B4-BE49-F238E27FC236}">
                  <a16:creationId xmlns:a16="http://schemas.microsoft.com/office/drawing/2014/main" id="{60433023-A4F2-924A-890E-B0DF6E382DBD}"/>
                </a:ext>
              </a:extLst>
            </p:cNvPr>
            <p:cNvSpPr>
              <a:spLocks/>
            </p:cNvSpPr>
            <p:nvPr/>
          </p:nvSpPr>
          <p:spPr bwMode="auto">
            <a:xfrm>
              <a:off x="769938" y="1635126"/>
              <a:ext cx="858838" cy="890588"/>
            </a:xfrm>
            <a:custGeom>
              <a:avLst/>
              <a:gdLst>
                <a:gd name="T0" fmla="*/ 0 w 452"/>
                <a:gd name="T1" fmla="*/ 0 h 467"/>
                <a:gd name="T2" fmla="*/ 0 w 452"/>
                <a:gd name="T3" fmla="*/ 467 h 467"/>
                <a:gd name="T4" fmla="*/ 452 w 452"/>
                <a:gd name="T5" fmla="*/ 467 h 467"/>
                <a:gd name="T6" fmla="*/ 0 w 452"/>
                <a:gd name="T7" fmla="*/ 0 h 467"/>
              </a:gdLst>
              <a:ahLst/>
              <a:cxnLst>
                <a:cxn ang="0">
                  <a:pos x="T0" y="T1"/>
                </a:cxn>
                <a:cxn ang="0">
                  <a:pos x="T2" y="T3"/>
                </a:cxn>
                <a:cxn ang="0">
                  <a:pos x="T4" y="T5"/>
                </a:cxn>
                <a:cxn ang="0">
                  <a:pos x="T6" y="T7"/>
                </a:cxn>
              </a:cxnLst>
              <a:rect l="0" t="0" r="r" b="b"/>
              <a:pathLst>
                <a:path w="452" h="467">
                  <a:moveTo>
                    <a:pt x="0" y="0"/>
                  </a:moveTo>
                  <a:cubicBezTo>
                    <a:pt x="0" y="467"/>
                    <a:pt x="0" y="467"/>
                    <a:pt x="0" y="467"/>
                  </a:cubicBezTo>
                  <a:cubicBezTo>
                    <a:pt x="452" y="467"/>
                    <a:pt x="452" y="467"/>
                    <a:pt x="452" y="467"/>
                  </a:cubicBezTo>
                  <a:cubicBezTo>
                    <a:pt x="220" y="430"/>
                    <a:pt x="36" y="240"/>
                    <a:pt x="0"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0" name="Freeform 19">
              <a:extLst>
                <a:ext uri="{FF2B5EF4-FFF2-40B4-BE49-F238E27FC236}">
                  <a16:creationId xmlns:a16="http://schemas.microsoft.com/office/drawing/2014/main" id="{19B12731-D2DD-1E44-937C-7C9945B25F24}"/>
                </a:ext>
              </a:extLst>
            </p:cNvPr>
            <p:cNvSpPr>
              <a:spLocks/>
            </p:cNvSpPr>
            <p:nvPr/>
          </p:nvSpPr>
          <p:spPr bwMode="auto">
            <a:xfrm>
              <a:off x="1946276" y="1635126"/>
              <a:ext cx="858838" cy="890588"/>
            </a:xfrm>
            <a:custGeom>
              <a:avLst/>
              <a:gdLst>
                <a:gd name="T0" fmla="*/ 0 w 452"/>
                <a:gd name="T1" fmla="*/ 467 h 467"/>
                <a:gd name="T2" fmla="*/ 452 w 452"/>
                <a:gd name="T3" fmla="*/ 467 h 467"/>
                <a:gd name="T4" fmla="*/ 452 w 452"/>
                <a:gd name="T5" fmla="*/ 0 h 467"/>
                <a:gd name="T6" fmla="*/ 0 w 452"/>
                <a:gd name="T7" fmla="*/ 467 h 467"/>
              </a:gdLst>
              <a:ahLst/>
              <a:cxnLst>
                <a:cxn ang="0">
                  <a:pos x="T0" y="T1"/>
                </a:cxn>
                <a:cxn ang="0">
                  <a:pos x="T2" y="T3"/>
                </a:cxn>
                <a:cxn ang="0">
                  <a:pos x="T4" y="T5"/>
                </a:cxn>
                <a:cxn ang="0">
                  <a:pos x="T6" y="T7"/>
                </a:cxn>
              </a:cxnLst>
              <a:rect l="0" t="0" r="r" b="b"/>
              <a:pathLst>
                <a:path w="452" h="467">
                  <a:moveTo>
                    <a:pt x="0" y="467"/>
                  </a:moveTo>
                  <a:cubicBezTo>
                    <a:pt x="452" y="467"/>
                    <a:pt x="452" y="467"/>
                    <a:pt x="452" y="467"/>
                  </a:cubicBezTo>
                  <a:cubicBezTo>
                    <a:pt x="452" y="0"/>
                    <a:pt x="452" y="0"/>
                    <a:pt x="452" y="0"/>
                  </a:cubicBezTo>
                  <a:cubicBezTo>
                    <a:pt x="416" y="240"/>
                    <a:pt x="233" y="430"/>
                    <a:pt x="0" y="46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1" name="Freeform 20">
              <a:extLst>
                <a:ext uri="{FF2B5EF4-FFF2-40B4-BE49-F238E27FC236}">
                  <a16:creationId xmlns:a16="http://schemas.microsoft.com/office/drawing/2014/main" id="{35105EED-6F42-6D4A-A12A-2F6B7FB8E4CF}"/>
                </a:ext>
              </a:extLst>
            </p:cNvPr>
            <p:cNvSpPr>
              <a:spLocks/>
            </p:cNvSpPr>
            <p:nvPr/>
          </p:nvSpPr>
          <p:spPr bwMode="auto">
            <a:xfrm>
              <a:off x="1946276" y="1265238"/>
              <a:ext cx="319088" cy="414338"/>
            </a:xfrm>
            <a:custGeom>
              <a:avLst/>
              <a:gdLst>
                <a:gd name="T0" fmla="*/ 201 w 201"/>
                <a:gd name="T1" fmla="*/ 166 h 261"/>
                <a:gd name="T2" fmla="*/ 91 w 201"/>
                <a:gd name="T3" fmla="*/ 166 h 261"/>
                <a:gd name="T4" fmla="*/ 91 w 201"/>
                <a:gd name="T5" fmla="*/ 94 h 261"/>
                <a:gd name="T6" fmla="*/ 201 w 201"/>
                <a:gd name="T7" fmla="*/ 94 h 261"/>
                <a:gd name="T8" fmla="*/ 201 w 201"/>
                <a:gd name="T9" fmla="*/ 0 h 261"/>
                <a:gd name="T10" fmla="*/ 0 w 201"/>
                <a:gd name="T11" fmla="*/ 0 h 261"/>
                <a:gd name="T12" fmla="*/ 0 w 201"/>
                <a:gd name="T13" fmla="*/ 261 h 261"/>
                <a:gd name="T14" fmla="*/ 201 w 201"/>
                <a:gd name="T15" fmla="*/ 261 h 261"/>
                <a:gd name="T16" fmla="*/ 201 w 201"/>
                <a:gd name="T17" fmla="*/ 16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 h="261">
                  <a:moveTo>
                    <a:pt x="201" y="166"/>
                  </a:moveTo>
                  <a:lnTo>
                    <a:pt x="91" y="166"/>
                  </a:lnTo>
                  <a:lnTo>
                    <a:pt x="91" y="94"/>
                  </a:lnTo>
                  <a:lnTo>
                    <a:pt x="201" y="94"/>
                  </a:lnTo>
                  <a:lnTo>
                    <a:pt x="201" y="0"/>
                  </a:lnTo>
                  <a:lnTo>
                    <a:pt x="0" y="0"/>
                  </a:lnTo>
                  <a:lnTo>
                    <a:pt x="0" y="261"/>
                  </a:lnTo>
                  <a:lnTo>
                    <a:pt x="201" y="261"/>
                  </a:lnTo>
                  <a:lnTo>
                    <a:pt x="201" y="166"/>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2" name="Freeform 21">
              <a:extLst>
                <a:ext uri="{FF2B5EF4-FFF2-40B4-BE49-F238E27FC236}">
                  <a16:creationId xmlns:a16="http://schemas.microsoft.com/office/drawing/2014/main" id="{B39AC0C7-99C2-9D4C-9756-78218D32D52E}"/>
                </a:ext>
              </a:extLst>
            </p:cNvPr>
            <p:cNvSpPr>
              <a:spLocks noEditPoints="1"/>
            </p:cNvSpPr>
            <p:nvPr/>
          </p:nvSpPr>
          <p:spPr bwMode="auto">
            <a:xfrm>
              <a:off x="2308226" y="1031876"/>
              <a:ext cx="393700" cy="647700"/>
            </a:xfrm>
            <a:custGeom>
              <a:avLst/>
              <a:gdLst>
                <a:gd name="T0" fmla="*/ 163 w 248"/>
                <a:gd name="T1" fmla="*/ 313 h 408"/>
                <a:gd name="T2" fmla="*/ 93 w 248"/>
                <a:gd name="T3" fmla="*/ 313 h 408"/>
                <a:gd name="T4" fmla="*/ 93 w 248"/>
                <a:gd name="T5" fmla="*/ 241 h 408"/>
                <a:gd name="T6" fmla="*/ 163 w 248"/>
                <a:gd name="T7" fmla="*/ 241 h 408"/>
                <a:gd name="T8" fmla="*/ 163 w 248"/>
                <a:gd name="T9" fmla="*/ 313 h 408"/>
                <a:gd name="T10" fmla="*/ 0 w 248"/>
                <a:gd name="T11" fmla="*/ 0 h 408"/>
                <a:gd name="T12" fmla="*/ 0 w 248"/>
                <a:gd name="T13" fmla="*/ 408 h 408"/>
                <a:gd name="T14" fmla="*/ 248 w 248"/>
                <a:gd name="T15" fmla="*/ 408 h 408"/>
                <a:gd name="T16" fmla="*/ 248 w 248"/>
                <a:gd name="T17" fmla="*/ 147 h 408"/>
                <a:gd name="T18" fmla="*/ 93 w 248"/>
                <a:gd name="T19" fmla="*/ 147 h 408"/>
                <a:gd name="T20" fmla="*/ 93 w 248"/>
                <a:gd name="T21" fmla="*/ 0 h 408"/>
                <a:gd name="T22" fmla="*/ 0 w 248"/>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08">
                  <a:moveTo>
                    <a:pt x="163" y="313"/>
                  </a:moveTo>
                  <a:lnTo>
                    <a:pt x="93" y="313"/>
                  </a:lnTo>
                  <a:lnTo>
                    <a:pt x="93" y="241"/>
                  </a:lnTo>
                  <a:lnTo>
                    <a:pt x="163" y="241"/>
                  </a:lnTo>
                  <a:lnTo>
                    <a:pt x="163" y="313"/>
                  </a:lnTo>
                  <a:close/>
                  <a:moveTo>
                    <a:pt x="0" y="0"/>
                  </a:moveTo>
                  <a:lnTo>
                    <a:pt x="0" y="408"/>
                  </a:lnTo>
                  <a:lnTo>
                    <a:pt x="248" y="408"/>
                  </a:lnTo>
                  <a:lnTo>
                    <a:pt x="248" y="147"/>
                  </a:lnTo>
                  <a:lnTo>
                    <a:pt x="93" y="147"/>
                  </a:lnTo>
                  <a:lnTo>
                    <a:pt x="93"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3" name="Freeform 22">
              <a:extLst>
                <a:ext uri="{FF2B5EF4-FFF2-40B4-BE49-F238E27FC236}">
                  <a16:creationId xmlns:a16="http://schemas.microsoft.com/office/drawing/2014/main" id="{8D02B1E5-C05E-9844-BA33-9CB1289A7937}"/>
                </a:ext>
              </a:extLst>
            </p:cNvPr>
            <p:cNvSpPr>
              <a:spLocks/>
            </p:cNvSpPr>
            <p:nvPr/>
          </p:nvSpPr>
          <p:spPr bwMode="auto">
            <a:xfrm>
              <a:off x="1512888" y="419101"/>
              <a:ext cx="384175" cy="2106613"/>
            </a:xfrm>
            <a:custGeom>
              <a:avLst/>
              <a:gdLst>
                <a:gd name="T0" fmla="*/ 177 w 242"/>
                <a:gd name="T1" fmla="*/ 0 h 1327"/>
                <a:gd name="T2" fmla="*/ 169 w 242"/>
                <a:gd name="T3" fmla="*/ 0 h 1327"/>
                <a:gd name="T4" fmla="*/ 169 w 242"/>
                <a:gd name="T5" fmla="*/ 533 h 1327"/>
                <a:gd name="T6" fmla="*/ 151 w 242"/>
                <a:gd name="T7" fmla="*/ 533 h 1327"/>
                <a:gd name="T8" fmla="*/ 151 w 242"/>
                <a:gd name="T9" fmla="*/ 699 h 1327"/>
                <a:gd name="T10" fmla="*/ 85 w 242"/>
                <a:gd name="T11" fmla="*/ 699 h 1327"/>
                <a:gd name="T12" fmla="*/ 85 w 242"/>
                <a:gd name="T13" fmla="*/ 533 h 1327"/>
                <a:gd name="T14" fmla="*/ 0 w 242"/>
                <a:gd name="T15" fmla="*/ 533 h 1327"/>
                <a:gd name="T16" fmla="*/ 0 w 242"/>
                <a:gd name="T17" fmla="*/ 794 h 1327"/>
                <a:gd name="T18" fmla="*/ 169 w 242"/>
                <a:gd name="T19" fmla="*/ 794 h 1327"/>
                <a:gd name="T20" fmla="*/ 169 w 242"/>
                <a:gd name="T21" fmla="*/ 1327 h 1327"/>
                <a:gd name="T22" fmla="*/ 177 w 242"/>
                <a:gd name="T23" fmla="*/ 1327 h 1327"/>
                <a:gd name="T24" fmla="*/ 177 w 242"/>
                <a:gd name="T25" fmla="*/ 794 h 1327"/>
                <a:gd name="T26" fmla="*/ 242 w 242"/>
                <a:gd name="T27" fmla="*/ 794 h 1327"/>
                <a:gd name="T28" fmla="*/ 242 w 242"/>
                <a:gd name="T29" fmla="*/ 533 h 1327"/>
                <a:gd name="T30" fmla="*/ 177 w 242"/>
                <a:gd name="T31" fmla="*/ 533 h 1327"/>
                <a:gd name="T32" fmla="*/ 177 w 242"/>
                <a:gd name="T33" fmla="*/ 0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1327">
                  <a:moveTo>
                    <a:pt x="177" y="0"/>
                  </a:moveTo>
                  <a:lnTo>
                    <a:pt x="169" y="0"/>
                  </a:lnTo>
                  <a:lnTo>
                    <a:pt x="169" y="533"/>
                  </a:lnTo>
                  <a:lnTo>
                    <a:pt x="151" y="533"/>
                  </a:lnTo>
                  <a:lnTo>
                    <a:pt x="151" y="699"/>
                  </a:lnTo>
                  <a:lnTo>
                    <a:pt x="85" y="699"/>
                  </a:lnTo>
                  <a:lnTo>
                    <a:pt x="85" y="533"/>
                  </a:lnTo>
                  <a:lnTo>
                    <a:pt x="0" y="533"/>
                  </a:lnTo>
                  <a:lnTo>
                    <a:pt x="0" y="794"/>
                  </a:lnTo>
                  <a:lnTo>
                    <a:pt x="169" y="794"/>
                  </a:lnTo>
                  <a:lnTo>
                    <a:pt x="169" y="1327"/>
                  </a:lnTo>
                  <a:lnTo>
                    <a:pt x="177" y="1327"/>
                  </a:lnTo>
                  <a:lnTo>
                    <a:pt x="177" y="794"/>
                  </a:lnTo>
                  <a:lnTo>
                    <a:pt x="242" y="794"/>
                  </a:lnTo>
                  <a:lnTo>
                    <a:pt x="242" y="533"/>
                  </a:lnTo>
                  <a:lnTo>
                    <a:pt x="177" y="533"/>
                  </a:lnTo>
                  <a:lnTo>
                    <a:pt x="177"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4" name="Rectangle 23">
              <a:extLst>
                <a:ext uri="{FF2B5EF4-FFF2-40B4-BE49-F238E27FC236}">
                  <a16:creationId xmlns:a16="http://schemas.microsoft.com/office/drawing/2014/main" id="{34331F41-0221-F24B-884E-C791B382D853}"/>
                </a:ext>
              </a:extLst>
            </p:cNvPr>
            <p:cNvSpPr>
              <a:spLocks noChangeArrowheads="1"/>
            </p:cNvSpPr>
            <p:nvPr/>
          </p:nvSpPr>
          <p:spPr bwMode="auto">
            <a:xfrm>
              <a:off x="3609976" y="427038"/>
              <a:ext cx="49213" cy="833438"/>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5" name="Freeform 24">
              <a:extLst>
                <a:ext uri="{FF2B5EF4-FFF2-40B4-BE49-F238E27FC236}">
                  <a16:creationId xmlns:a16="http://schemas.microsoft.com/office/drawing/2014/main" id="{44110B3C-1344-D044-AD41-560B8A2B1DC3}"/>
                </a:ext>
              </a:extLst>
            </p:cNvPr>
            <p:cNvSpPr>
              <a:spLocks/>
            </p:cNvSpPr>
            <p:nvPr/>
          </p:nvSpPr>
          <p:spPr bwMode="auto">
            <a:xfrm>
              <a:off x="3830638" y="649288"/>
              <a:ext cx="481013" cy="611188"/>
            </a:xfrm>
            <a:custGeom>
              <a:avLst/>
              <a:gdLst>
                <a:gd name="T0" fmla="*/ 0 w 253"/>
                <a:gd name="T1" fmla="*/ 8 h 321"/>
                <a:gd name="T2" fmla="*/ 26 w 253"/>
                <a:gd name="T3" fmla="*/ 8 h 321"/>
                <a:gd name="T4" fmla="*/ 26 w 253"/>
                <a:gd name="T5" fmla="*/ 63 h 321"/>
                <a:gd name="T6" fmla="*/ 23 w 253"/>
                <a:gd name="T7" fmla="*/ 89 h 321"/>
                <a:gd name="T8" fmla="*/ 24 w 253"/>
                <a:gd name="T9" fmla="*/ 89 h 321"/>
                <a:gd name="T10" fmla="*/ 153 w 253"/>
                <a:gd name="T11" fmla="*/ 0 h 321"/>
                <a:gd name="T12" fmla="*/ 253 w 253"/>
                <a:gd name="T13" fmla="*/ 122 h 321"/>
                <a:gd name="T14" fmla="*/ 253 w 253"/>
                <a:gd name="T15" fmla="*/ 321 h 321"/>
                <a:gd name="T16" fmla="*/ 227 w 253"/>
                <a:gd name="T17" fmla="*/ 321 h 321"/>
                <a:gd name="T18" fmla="*/ 227 w 253"/>
                <a:gd name="T19" fmla="*/ 132 h 321"/>
                <a:gd name="T20" fmla="*/ 153 w 253"/>
                <a:gd name="T21" fmla="*/ 26 h 321"/>
                <a:gd name="T22" fmla="*/ 30 w 253"/>
                <a:gd name="T23" fmla="*/ 126 h 321"/>
                <a:gd name="T24" fmla="*/ 26 w 253"/>
                <a:gd name="T25" fmla="*/ 168 h 321"/>
                <a:gd name="T26" fmla="*/ 26 w 253"/>
                <a:gd name="T27" fmla="*/ 321 h 321"/>
                <a:gd name="T28" fmla="*/ 0 w 253"/>
                <a:gd name="T29" fmla="*/ 321 h 321"/>
                <a:gd name="T30" fmla="*/ 0 w 253"/>
                <a:gd name="T31" fmla="*/ 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3" h="321">
                  <a:moveTo>
                    <a:pt x="0" y="8"/>
                  </a:moveTo>
                  <a:cubicBezTo>
                    <a:pt x="26" y="8"/>
                    <a:pt x="26" y="8"/>
                    <a:pt x="26" y="8"/>
                  </a:cubicBezTo>
                  <a:cubicBezTo>
                    <a:pt x="26" y="63"/>
                    <a:pt x="26" y="63"/>
                    <a:pt x="26" y="63"/>
                  </a:cubicBezTo>
                  <a:cubicBezTo>
                    <a:pt x="26" y="77"/>
                    <a:pt x="23" y="89"/>
                    <a:pt x="23" y="89"/>
                  </a:cubicBezTo>
                  <a:cubicBezTo>
                    <a:pt x="24" y="89"/>
                    <a:pt x="24" y="89"/>
                    <a:pt x="24" y="89"/>
                  </a:cubicBezTo>
                  <a:cubicBezTo>
                    <a:pt x="35" y="59"/>
                    <a:pt x="77" y="0"/>
                    <a:pt x="153" y="0"/>
                  </a:cubicBezTo>
                  <a:cubicBezTo>
                    <a:pt x="231" y="0"/>
                    <a:pt x="253" y="49"/>
                    <a:pt x="253" y="122"/>
                  </a:cubicBezTo>
                  <a:cubicBezTo>
                    <a:pt x="253" y="321"/>
                    <a:pt x="253" y="321"/>
                    <a:pt x="253" y="321"/>
                  </a:cubicBezTo>
                  <a:cubicBezTo>
                    <a:pt x="227" y="321"/>
                    <a:pt x="227" y="321"/>
                    <a:pt x="227" y="321"/>
                  </a:cubicBezTo>
                  <a:cubicBezTo>
                    <a:pt x="227" y="132"/>
                    <a:pt x="227" y="132"/>
                    <a:pt x="227" y="132"/>
                  </a:cubicBezTo>
                  <a:cubicBezTo>
                    <a:pt x="227" y="77"/>
                    <a:pt x="220" y="26"/>
                    <a:pt x="153" y="26"/>
                  </a:cubicBezTo>
                  <a:cubicBezTo>
                    <a:pt x="96" y="26"/>
                    <a:pt x="46" y="67"/>
                    <a:pt x="30" y="126"/>
                  </a:cubicBezTo>
                  <a:cubicBezTo>
                    <a:pt x="27" y="139"/>
                    <a:pt x="26" y="153"/>
                    <a:pt x="26" y="168"/>
                  </a:cubicBezTo>
                  <a:cubicBezTo>
                    <a:pt x="26" y="321"/>
                    <a:pt x="26" y="321"/>
                    <a:pt x="26" y="321"/>
                  </a:cubicBezTo>
                  <a:cubicBezTo>
                    <a:pt x="0" y="321"/>
                    <a:pt x="0" y="321"/>
                    <a:pt x="0" y="321"/>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6" name="Freeform 25">
              <a:extLst>
                <a:ext uri="{FF2B5EF4-FFF2-40B4-BE49-F238E27FC236}">
                  <a16:creationId xmlns:a16="http://schemas.microsoft.com/office/drawing/2014/main" id="{6A976845-9570-C140-AEEF-0DBD4AA9CD8B}"/>
                </a:ext>
              </a:extLst>
            </p:cNvPr>
            <p:cNvSpPr>
              <a:spLocks/>
            </p:cNvSpPr>
            <p:nvPr/>
          </p:nvSpPr>
          <p:spPr bwMode="auto">
            <a:xfrm>
              <a:off x="4400551" y="652463"/>
              <a:ext cx="392113" cy="622300"/>
            </a:xfrm>
            <a:custGeom>
              <a:avLst/>
              <a:gdLst>
                <a:gd name="T0" fmla="*/ 16 w 206"/>
                <a:gd name="T1" fmla="*/ 262 h 327"/>
                <a:gd name="T2" fmla="*/ 110 w 206"/>
                <a:gd name="T3" fmla="*/ 302 h 327"/>
                <a:gd name="T4" fmla="*/ 179 w 206"/>
                <a:gd name="T5" fmla="*/ 243 h 327"/>
                <a:gd name="T6" fmla="*/ 13 w 206"/>
                <a:gd name="T7" fmla="*/ 84 h 327"/>
                <a:gd name="T8" fmla="*/ 110 w 206"/>
                <a:gd name="T9" fmla="*/ 0 h 327"/>
                <a:gd name="T10" fmla="*/ 199 w 206"/>
                <a:gd name="T11" fmla="*/ 33 h 327"/>
                <a:gd name="T12" fmla="*/ 184 w 206"/>
                <a:gd name="T13" fmla="*/ 55 h 327"/>
                <a:gd name="T14" fmla="*/ 108 w 206"/>
                <a:gd name="T15" fmla="*/ 25 h 327"/>
                <a:gd name="T16" fmla="*/ 40 w 206"/>
                <a:gd name="T17" fmla="*/ 82 h 327"/>
                <a:gd name="T18" fmla="*/ 206 w 206"/>
                <a:gd name="T19" fmla="*/ 243 h 327"/>
                <a:gd name="T20" fmla="*/ 109 w 206"/>
                <a:gd name="T21" fmla="*/ 327 h 327"/>
                <a:gd name="T22" fmla="*/ 0 w 206"/>
                <a:gd name="T23" fmla="*/ 282 h 327"/>
                <a:gd name="T24" fmla="*/ 16 w 206"/>
                <a:gd name="T25" fmla="*/ 26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327">
                  <a:moveTo>
                    <a:pt x="16" y="262"/>
                  </a:moveTo>
                  <a:cubicBezTo>
                    <a:pt x="16" y="262"/>
                    <a:pt x="50" y="302"/>
                    <a:pt x="110" y="302"/>
                  </a:cubicBezTo>
                  <a:cubicBezTo>
                    <a:pt x="147" y="302"/>
                    <a:pt x="179" y="281"/>
                    <a:pt x="179" y="243"/>
                  </a:cubicBezTo>
                  <a:cubicBezTo>
                    <a:pt x="179" y="163"/>
                    <a:pt x="13" y="186"/>
                    <a:pt x="13" y="84"/>
                  </a:cubicBezTo>
                  <a:cubicBezTo>
                    <a:pt x="13" y="28"/>
                    <a:pt x="58" y="0"/>
                    <a:pt x="110" y="0"/>
                  </a:cubicBezTo>
                  <a:cubicBezTo>
                    <a:pt x="171" y="0"/>
                    <a:pt x="199" y="33"/>
                    <a:pt x="199" y="33"/>
                  </a:cubicBezTo>
                  <a:cubicBezTo>
                    <a:pt x="184" y="55"/>
                    <a:pt x="184" y="55"/>
                    <a:pt x="184" y="55"/>
                  </a:cubicBezTo>
                  <a:cubicBezTo>
                    <a:pt x="184" y="55"/>
                    <a:pt x="159" y="25"/>
                    <a:pt x="108" y="25"/>
                  </a:cubicBezTo>
                  <a:cubicBezTo>
                    <a:pt x="73" y="25"/>
                    <a:pt x="40" y="41"/>
                    <a:pt x="40" y="82"/>
                  </a:cubicBezTo>
                  <a:cubicBezTo>
                    <a:pt x="40" y="163"/>
                    <a:pt x="206" y="139"/>
                    <a:pt x="206" y="243"/>
                  </a:cubicBezTo>
                  <a:cubicBezTo>
                    <a:pt x="206" y="293"/>
                    <a:pt x="165" y="327"/>
                    <a:pt x="109" y="327"/>
                  </a:cubicBezTo>
                  <a:cubicBezTo>
                    <a:pt x="36" y="327"/>
                    <a:pt x="0" y="282"/>
                    <a:pt x="0" y="282"/>
                  </a:cubicBezTo>
                  <a:lnTo>
                    <a:pt x="16" y="26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7" name="Freeform 26">
              <a:extLst>
                <a:ext uri="{FF2B5EF4-FFF2-40B4-BE49-F238E27FC236}">
                  <a16:creationId xmlns:a16="http://schemas.microsoft.com/office/drawing/2014/main" id="{37E0DA62-90B9-7842-AB64-75D0584A67F8}"/>
                </a:ext>
              </a:extLst>
            </p:cNvPr>
            <p:cNvSpPr>
              <a:spLocks noEditPoints="1"/>
            </p:cNvSpPr>
            <p:nvPr/>
          </p:nvSpPr>
          <p:spPr bwMode="auto">
            <a:xfrm>
              <a:off x="4899026" y="649288"/>
              <a:ext cx="501650" cy="849313"/>
            </a:xfrm>
            <a:custGeom>
              <a:avLst/>
              <a:gdLst>
                <a:gd name="T0" fmla="*/ 130 w 264"/>
                <a:gd name="T1" fmla="*/ 303 h 446"/>
                <a:gd name="T2" fmla="*/ 238 w 264"/>
                <a:gd name="T3" fmla="*/ 164 h 446"/>
                <a:gd name="T4" fmla="*/ 132 w 264"/>
                <a:gd name="T5" fmla="*/ 26 h 446"/>
                <a:gd name="T6" fmla="*/ 25 w 264"/>
                <a:gd name="T7" fmla="*/ 165 h 446"/>
                <a:gd name="T8" fmla="*/ 130 w 264"/>
                <a:gd name="T9" fmla="*/ 303 h 446"/>
                <a:gd name="T10" fmla="*/ 0 w 264"/>
                <a:gd name="T11" fmla="*/ 8 h 446"/>
                <a:gd name="T12" fmla="*/ 25 w 264"/>
                <a:gd name="T13" fmla="*/ 8 h 446"/>
                <a:gd name="T14" fmla="*/ 25 w 264"/>
                <a:gd name="T15" fmla="*/ 46 h 446"/>
                <a:gd name="T16" fmla="*/ 23 w 264"/>
                <a:gd name="T17" fmla="*/ 71 h 446"/>
                <a:gd name="T18" fmla="*/ 25 w 264"/>
                <a:gd name="T19" fmla="*/ 71 h 446"/>
                <a:gd name="T20" fmla="*/ 134 w 264"/>
                <a:gd name="T21" fmla="*/ 0 h 446"/>
                <a:gd name="T22" fmla="*/ 264 w 264"/>
                <a:gd name="T23" fmla="*/ 164 h 446"/>
                <a:gd name="T24" fmla="*/ 130 w 264"/>
                <a:gd name="T25" fmla="*/ 328 h 446"/>
                <a:gd name="T26" fmla="*/ 24 w 264"/>
                <a:gd name="T27" fmla="*/ 257 h 446"/>
                <a:gd name="T28" fmla="*/ 23 w 264"/>
                <a:gd name="T29" fmla="*/ 257 h 446"/>
                <a:gd name="T30" fmla="*/ 25 w 264"/>
                <a:gd name="T31" fmla="*/ 285 h 446"/>
                <a:gd name="T32" fmla="*/ 25 w 264"/>
                <a:gd name="T33" fmla="*/ 446 h 446"/>
                <a:gd name="T34" fmla="*/ 0 w 264"/>
                <a:gd name="T35" fmla="*/ 446 h 446"/>
                <a:gd name="T36" fmla="*/ 0 w 264"/>
                <a:gd name="T37" fmla="*/ 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303"/>
                  </a:moveTo>
                  <a:cubicBezTo>
                    <a:pt x="189" y="303"/>
                    <a:pt x="238" y="252"/>
                    <a:pt x="238" y="164"/>
                  </a:cubicBezTo>
                  <a:cubicBezTo>
                    <a:pt x="238" y="80"/>
                    <a:pt x="194" y="26"/>
                    <a:pt x="132" y="26"/>
                  </a:cubicBezTo>
                  <a:cubicBezTo>
                    <a:pt x="77" y="26"/>
                    <a:pt x="25" y="67"/>
                    <a:pt x="25" y="165"/>
                  </a:cubicBezTo>
                  <a:cubicBezTo>
                    <a:pt x="25" y="234"/>
                    <a:pt x="62" y="303"/>
                    <a:pt x="130" y="303"/>
                  </a:cubicBezTo>
                  <a:moveTo>
                    <a:pt x="0" y="8"/>
                  </a:moveTo>
                  <a:cubicBezTo>
                    <a:pt x="25" y="8"/>
                    <a:pt x="25" y="8"/>
                    <a:pt x="25" y="8"/>
                  </a:cubicBezTo>
                  <a:cubicBezTo>
                    <a:pt x="25" y="46"/>
                    <a:pt x="25" y="46"/>
                    <a:pt x="25" y="46"/>
                  </a:cubicBezTo>
                  <a:cubicBezTo>
                    <a:pt x="25" y="60"/>
                    <a:pt x="23" y="71"/>
                    <a:pt x="23" y="71"/>
                  </a:cubicBezTo>
                  <a:cubicBezTo>
                    <a:pt x="25" y="71"/>
                    <a:pt x="25" y="71"/>
                    <a:pt x="25" y="71"/>
                  </a:cubicBezTo>
                  <a:cubicBezTo>
                    <a:pt x="25" y="71"/>
                    <a:pt x="49" y="0"/>
                    <a:pt x="134" y="0"/>
                  </a:cubicBezTo>
                  <a:cubicBezTo>
                    <a:pt x="215" y="0"/>
                    <a:pt x="264" y="67"/>
                    <a:pt x="264" y="164"/>
                  </a:cubicBezTo>
                  <a:cubicBezTo>
                    <a:pt x="264" y="264"/>
                    <a:pt x="208" y="328"/>
                    <a:pt x="130" y="328"/>
                  </a:cubicBezTo>
                  <a:cubicBezTo>
                    <a:pt x="51" y="328"/>
                    <a:pt x="24" y="257"/>
                    <a:pt x="24" y="257"/>
                  </a:cubicBezTo>
                  <a:cubicBezTo>
                    <a:pt x="23" y="257"/>
                    <a:pt x="23" y="257"/>
                    <a:pt x="23" y="257"/>
                  </a:cubicBezTo>
                  <a:cubicBezTo>
                    <a:pt x="23" y="257"/>
                    <a:pt x="25" y="269"/>
                    <a:pt x="25" y="285"/>
                  </a:cubicBezTo>
                  <a:cubicBezTo>
                    <a:pt x="25" y="446"/>
                    <a:pt x="25" y="446"/>
                    <a:pt x="25" y="446"/>
                  </a:cubicBezTo>
                  <a:cubicBezTo>
                    <a:pt x="0" y="446"/>
                    <a:pt x="0" y="446"/>
                    <a:pt x="0" y="446"/>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8" name="Freeform 27">
              <a:extLst>
                <a:ext uri="{FF2B5EF4-FFF2-40B4-BE49-F238E27FC236}">
                  <a16:creationId xmlns:a16="http://schemas.microsoft.com/office/drawing/2014/main" id="{400545EC-F504-0541-A316-C3189AA96099}"/>
                </a:ext>
              </a:extLst>
            </p:cNvPr>
            <p:cNvSpPr>
              <a:spLocks noEditPoints="1"/>
            </p:cNvSpPr>
            <p:nvPr/>
          </p:nvSpPr>
          <p:spPr bwMode="auto">
            <a:xfrm>
              <a:off x="5513388" y="427038"/>
              <a:ext cx="57150" cy="833438"/>
            </a:xfrm>
            <a:custGeom>
              <a:avLst/>
              <a:gdLst>
                <a:gd name="T0" fmla="*/ 3 w 36"/>
                <a:gd name="T1" fmla="*/ 525 h 525"/>
                <a:gd name="T2" fmla="*/ 34 w 36"/>
                <a:gd name="T3" fmla="*/ 525 h 525"/>
                <a:gd name="T4" fmla="*/ 34 w 36"/>
                <a:gd name="T5" fmla="*/ 150 h 525"/>
                <a:gd name="T6" fmla="*/ 3 w 36"/>
                <a:gd name="T7" fmla="*/ 150 h 525"/>
                <a:gd name="T8" fmla="*/ 3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3" y="525"/>
                  </a:moveTo>
                  <a:lnTo>
                    <a:pt x="34" y="525"/>
                  </a:lnTo>
                  <a:lnTo>
                    <a:pt x="34" y="150"/>
                  </a:lnTo>
                  <a:lnTo>
                    <a:pt x="3" y="150"/>
                  </a:lnTo>
                  <a:lnTo>
                    <a:pt x="3"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29" name="Freeform 28">
              <a:extLst>
                <a:ext uri="{FF2B5EF4-FFF2-40B4-BE49-F238E27FC236}">
                  <a16:creationId xmlns:a16="http://schemas.microsoft.com/office/drawing/2014/main" id="{D7613BB2-5704-A544-845A-5EE91F5F60E8}"/>
                </a:ext>
              </a:extLst>
            </p:cNvPr>
            <p:cNvSpPr>
              <a:spLocks/>
            </p:cNvSpPr>
            <p:nvPr/>
          </p:nvSpPr>
          <p:spPr bwMode="auto">
            <a:xfrm>
              <a:off x="5716588" y="660401"/>
              <a:ext cx="263525" cy="600075"/>
            </a:xfrm>
            <a:custGeom>
              <a:avLst/>
              <a:gdLst>
                <a:gd name="T0" fmla="*/ 0 w 138"/>
                <a:gd name="T1" fmla="*/ 2 h 315"/>
                <a:gd name="T2" fmla="*/ 25 w 138"/>
                <a:gd name="T3" fmla="*/ 2 h 315"/>
                <a:gd name="T4" fmla="*/ 25 w 138"/>
                <a:gd name="T5" fmla="*/ 61 h 315"/>
                <a:gd name="T6" fmla="*/ 23 w 138"/>
                <a:gd name="T7" fmla="*/ 87 h 315"/>
                <a:gd name="T8" fmla="*/ 24 w 138"/>
                <a:gd name="T9" fmla="*/ 87 h 315"/>
                <a:gd name="T10" fmla="*/ 121 w 138"/>
                <a:gd name="T11" fmla="*/ 0 h 315"/>
                <a:gd name="T12" fmla="*/ 138 w 138"/>
                <a:gd name="T13" fmla="*/ 1 h 315"/>
                <a:gd name="T14" fmla="*/ 138 w 138"/>
                <a:gd name="T15" fmla="*/ 28 h 315"/>
                <a:gd name="T16" fmla="*/ 125 w 138"/>
                <a:gd name="T17" fmla="*/ 26 h 315"/>
                <a:gd name="T18" fmla="*/ 34 w 138"/>
                <a:gd name="T19" fmla="*/ 114 h 315"/>
                <a:gd name="T20" fmla="*/ 25 w 138"/>
                <a:gd name="T21" fmla="*/ 180 h 315"/>
                <a:gd name="T22" fmla="*/ 25 w 138"/>
                <a:gd name="T23" fmla="*/ 315 h 315"/>
                <a:gd name="T24" fmla="*/ 0 w 138"/>
                <a:gd name="T25" fmla="*/ 315 h 315"/>
                <a:gd name="T26" fmla="*/ 0 w 138"/>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 h="315">
                  <a:moveTo>
                    <a:pt x="0" y="2"/>
                  </a:moveTo>
                  <a:cubicBezTo>
                    <a:pt x="25" y="2"/>
                    <a:pt x="25" y="2"/>
                    <a:pt x="25" y="2"/>
                  </a:cubicBezTo>
                  <a:cubicBezTo>
                    <a:pt x="25" y="61"/>
                    <a:pt x="25" y="61"/>
                    <a:pt x="25" y="61"/>
                  </a:cubicBezTo>
                  <a:cubicBezTo>
                    <a:pt x="25" y="76"/>
                    <a:pt x="23" y="87"/>
                    <a:pt x="23" y="87"/>
                  </a:cubicBezTo>
                  <a:cubicBezTo>
                    <a:pt x="24" y="87"/>
                    <a:pt x="24" y="87"/>
                    <a:pt x="24" y="87"/>
                  </a:cubicBezTo>
                  <a:cubicBezTo>
                    <a:pt x="39" y="39"/>
                    <a:pt x="73" y="0"/>
                    <a:pt x="121" y="0"/>
                  </a:cubicBezTo>
                  <a:cubicBezTo>
                    <a:pt x="130" y="0"/>
                    <a:pt x="138" y="1"/>
                    <a:pt x="138" y="1"/>
                  </a:cubicBezTo>
                  <a:cubicBezTo>
                    <a:pt x="138" y="28"/>
                    <a:pt x="138" y="28"/>
                    <a:pt x="138" y="28"/>
                  </a:cubicBezTo>
                  <a:cubicBezTo>
                    <a:pt x="138" y="28"/>
                    <a:pt x="131" y="26"/>
                    <a:pt x="125" y="26"/>
                  </a:cubicBezTo>
                  <a:cubicBezTo>
                    <a:pt x="77" y="26"/>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0" name="Freeform 29">
              <a:extLst>
                <a:ext uri="{FF2B5EF4-FFF2-40B4-BE49-F238E27FC236}">
                  <a16:creationId xmlns:a16="http://schemas.microsoft.com/office/drawing/2014/main" id="{F36C59A9-C00C-D440-A9AF-693C1680A10D}"/>
                </a:ext>
              </a:extLst>
            </p:cNvPr>
            <p:cNvSpPr>
              <a:spLocks noEditPoints="1"/>
            </p:cNvSpPr>
            <p:nvPr/>
          </p:nvSpPr>
          <p:spPr bwMode="auto">
            <a:xfrm>
              <a:off x="5991226" y="649288"/>
              <a:ext cx="514350" cy="625475"/>
            </a:xfrm>
            <a:custGeom>
              <a:avLst/>
              <a:gdLst>
                <a:gd name="T0" fmla="*/ 244 w 271"/>
                <a:gd name="T1" fmla="*/ 136 h 328"/>
                <a:gd name="T2" fmla="*/ 147 w 271"/>
                <a:gd name="T3" fmla="*/ 25 h 328"/>
                <a:gd name="T4" fmla="*/ 29 w 271"/>
                <a:gd name="T5" fmla="*/ 136 h 328"/>
                <a:gd name="T6" fmla="*/ 244 w 271"/>
                <a:gd name="T7" fmla="*/ 136 h 328"/>
                <a:gd name="T8" fmla="*/ 147 w 271"/>
                <a:gd name="T9" fmla="*/ 0 h 328"/>
                <a:gd name="T10" fmla="*/ 271 w 271"/>
                <a:gd name="T11" fmla="*/ 143 h 328"/>
                <a:gd name="T12" fmla="*/ 270 w 271"/>
                <a:gd name="T13" fmla="*/ 160 h 328"/>
                <a:gd name="T14" fmla="*/ 27 w 271"/>
                <a:gd name="T15" fmla="*/ 160 h 328"/>
                <a:gd name="T16" fmla="*/ 156 w 271"/>
                <a:gd name="T17" fmla="*/ 303 h 328"/>
                <a:gd name="T18" fmla="*/ 250 w 271"/>
                <a:gd name="T19" fmla="*/ 263 h 328"/>
                <a:gd name="T20" fmla="*/ 264 w 271"/>
                <a:gd name="T21" fmla="*/ 285 h 328"/>
                <a:gd name="T22" fmla="*/ 156 w 271"/>
                <a:gd name="T23" fmla="*/ 328 h 328"/>
                <a:gd name="T24" fmla="*/ 0 w 271"/>
                <a:gd name="T25" fmla="*/ 165 h 328"/>
                <a:gd name="T26" fmla="*/ 147 w 271"/>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328">
                  <a:moveTo>
                    <a:pt x="244" y="136"/>
                  </a:moveTo>
                  <a:cubicBezTo>
                    <a:pt x="241" y="59"/>
                    <a:pt x="197" y="25"/>
                    <a:pt x="147" y="25"/>
                  </a:cubicBezTo>
                  <a:cubicBezTo>
                    <a:pt x="91" y="25"/>
                    <a:pt x="39" y="62"/>
                    <a:pt x="29" y="136"/>
                  </a:cubicBezTo>
                  <a:lnTo>
                    <a:pt x="244" y="136"/>
                  </a:lnTo>
                  <a:close/>
                  <a:moveTo>
                    <a:pt x="147" y="0"/>
                  </a:moveTo>
                  <a:cubicBezTo>
                    <a:pt x="230" y="0"/>
                    <a:pt x="271" y="67"/>
                    <a:pt x="271" y="143"/>
                  </a:cubicBezTo>
                  <a:cubicBezTo>
                    <a:pt x="271" y="150"/>
                    <a:pt x="270" y="160"/>
                    <a:pt x="270" y="160"/>
                  </a:cubicBezTo>
                  <a:cubicBezTo>
                    <a:pt x="27" y="160"/>
                    <a:pt x="27" y="160"/>
                    <a:pt x="27" y="160"/>
                  </a:cubicBezTo>
                  <a:cubicBezTo>
                    <a:pt x="27" y="251"/>
                    <a:pt x="86" y="303"/>
                    <a:pt x="156" y="303"/>
                  </a:cubicBezTo>
                  <a:cubicBezTo>
                    <a:pt x="214" y="303"/>
                    <a:pt x="250" y="263"/>
                    <a:pt x="250" y="263"/>
                  </a:cubicBezTo>
                  <a:cubicBezTo>
                    <a:pt x="264" y="285"/>
                    <a:pt x="264" y="285"/>
                    <a:pt x="264" y="285"/>
                  </a:cubicBezTo>
                  <a:cubicBezTo>
                    <a:pt x="264" y="285"/>
                    <a:pt x="222" y="328"/>
                    <a:pt x="156" y="328"/>
                  </a:cubicBezTo>
                  <a:cubicBezTo>
                    <a:pt x="71" y="328"/>
                    <a:pt x="0" y="264"/>
                    <a:pt x="0" y="165"/>
                  </a:cubicBezTo>
                  <a:cubicBezTo>
                    <a:pt x="0" y="59"/>
                    <a:pt x="70"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1" name="Freeform 30">
              <a:extLst>
                <a:ext uri="{FF2B5EF4-FFF2-40B4-BE49-F238E27FC236}">
                  <a16:creationId xmlns:a16="http://schemas.microsoft.com/office/drawing/2014/main" id="{FC901860-399C-AE4A-9485-33C49C83BDBC}"/>
                </a:ext>
              </a:extLst>
            </p:cNvPr>
            <p:cNvSpPr>
              <a:spLocks noEditPoints="1"/>
            </p:cNvSpPr>
            <p:nvPr/>
          </p:nvSpPr>
          <p:spPr bwMode="auto">
            <a:xfrm>
              <a:off x="6584951" y="427038"/>
              <a:ext cx="501650" cy="847725"/>
            </a:xfrm>
            <a:custGeom>
              <a:avLst/>
              <a:gdLst>
                <a:gd name="T0" fmla="*/ 132 w 264"/>
                <a:gd name="T1" fmla="*/ 420 h 445"/>
                <a:gd name="T2" fmla="*/ 239 w 264"/>
                <a:gd name="T3" fmla="*/ 281 h 445"/>
                <a:gd name="T4" fmla="*/ 134 w 264"/>
                <a:gd name="T5" fmla="*/ 143 h 445"/>
                <a:gd name="T6" fmla="*/ 26 w 264"/>
                <a:gd name="T7" fmla="*/ 281 h 445"/>
                <a:gd name="T8" fmla="*/ 132 w 264"/>
                <a:gd name="T9" fmla="*/ 420 h 445"/>
                <a:gd name="T10" fmla="*/ 135 w 264"/>
                <a:gd name="T11" fmla="*/ 117 h 445"/>
                <a:gd name="T12" fmla="*/ 240 w 264"/>
                <a:gd name="T13" fmla="*/ 188 h 445"/>
                <a:gd name="T14" fmla="*/ 241 w 264"/>
                <a:gd name="T15" fmla="*/ 188 h 445"/>
                <a:gd name="T16" fmla="*/ 239 w 264"/>
                <a:gd name="T17" fmla="*/ 162 h 445"/>
                <a:gd name="T18" fmla="*/ 239 w 264"/>
                <a:gd name="T19" fmla="*/ 0 h 445"/>
                <a:gd name="T20" fmla="*/ 264 w 264"/>
                <a:gd name="T21" fmla="*/ 0 h 445"/>
                <a:gd name="T22" fmla="*/ 264 w 264"/>
                <a:gd name="T23" fmla="*/ 438 h 445"/>
                <a:gd name="T24" fmla="*/ 239 w 264"/>
                <a:gd name="T25" fmla="*/ 438 h 445"/>
                <a:gd name="T26" fmla="*/ 239 w 264"/>
                <a:gd name="T27" fmla="*/ 398 h 445"/>
                <a:gd name="T28" fmla="*/ 241 w 264"/>
                <a:gd name="T29" fmla="*/ 374 h 445"/>
                <a:gd name="T30" fmla="*/ 240 w 264"/>
                <a:gd name="T31" fmla="*/ 374 h 445"/>
                <a:gd name="T32" fmla="*/ 131 w 264"/>
                <a:gd name="T33" fmla="*/ 445 h 445"/>
                <a:gd name="T34" fmla="*/ 0 w 264"/>
                <a:gd name="T35" fmla="*/ 281 h 445"/>
                <a:gd name="T36" fmla="*/ 135 w 264"/>
                <a:gd name="T37" fmla="*/ 11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5">
                  <a:moveTo>
                    <a:pt x="132" y="420"/>
                  </a:moveTo>
                  <a:cubicBezTo>
                    <a:pt x="187" y="420"/>
                    <a:pt x="239" y="379"/>
                    <a:pt x="239" y="281"/>
                  </a:cubicBezTo>
                  <a:cubicBezTo>
                    <a:pt x="239" y="211"/>
                    <a:pt x="205" y="143"/>
                    <a:pt x="134" y="143"/>
                  </a:cubicBezTo>
                  <a:cubicBezTo>
                    <a:pt x="75" y="143"/>
                    <a:pt x="26" y="194"/>
                    <a:pt x="26" y="281"/>
                  </a:cubicBezTo>
                  <a:cubicBezTo>
                    <a:pt x="26" y="366"/>
                    <a:pt x="70" y="420"/>
                    <a:pt x="132" y="420"/>
                  </a:cubicBezTo>
                  <a:moveTo>
                    <a:pt x="135" y="117"/>
                  </a:moveTo>
                  <a:cubicBezTo>
                    <a:pt x="212" y="117"/>
                    <a:pt x="240" y="188"/>
                    <a:pt x="240" y="188"/>
                  </a:cubicBezTo>
                  <a:cubicBezTo>
                    <a:pt x="241" y="188"/>
                    <a:pt x="241" y="188"/>
                    <a:pt x="241" y="188"/>
                  </a:cubicBezTo>
                  <a:cubicBezTo>
                    <a:pt x="241" y="188"/>
                    <a:pt x="239" y="177"/>
                    <a:pt x="239" y="162"/>
                  </a:cubicBezTo>
                  <a:cubicBezTo>
                    <a:pt x="239" y="0"/>
                    <a:pt x="239" y="0"/>
                    <a:pt x="239" y="0"/>
                  </a:cubicBezTo>
                  <a:cubicBezTo>
                    <a:pt x="264" y="0"/>
                    <a:pt x="264" y="0"/>
                    <a:pt x="264" y="0"/>
                  </a:cubicBezTo>
                  <a:cubicBezTo>
                    <a:pt x="264" y="438"/>
                    <a:pt x="264" y="438"/>
                    <a:pt x="264" y="438"/>
                  </a:cubicBezTo>
                  <a:cubicBezTo>
                    <a:pt x="239" y="438"/>
                    <a:pt x="239" y="438"/>
                    <a:pt x="239" y="438"/>
                  </a:cubicBezTo>
                  <a:cubicBezTo>
                    <a:pt x="239" y="398"/>
                    <a:pt x="239" y="398"/>
                    <a:pt x="239" y="398"/>
                  </a:cubicBezTo>
                  <a:cubicBezTo>
                    <a:pt x="239" y="384"/>
                    <a:pt x="241" y="374"/>
                    <a:pt x="241" y="374"/>
                  </a:cubicBezTo>
                  <a:cubicBezTo>
                    <a:pt x="240" y="374"/>
                    <a:pt x="240" y="374"/>
                    <a:pt x="240" y="374"/>
                  </a:cubicBezTo>
                  <a:cubicBezTo>
                    <a:pt x="240" y="374"/>
                    <a:pt x="214" y="445"/>
                    <a:pt x="131" y="445"/>
                  </a:cubicBezTo>
                  <a:cubicBezTo>
                    <a:pt x="49" y="445"/>
                    <a:pt x="0" y="378"/>
                    <a:pt x="0" y="281"/>
                  </a:cubicBezTo>
                  <a:cubicBezTo>
                    <a:pt x="0" y="182"/>
                    <a:pt x="56" y="117"/>
                    <a:pt x="135" y="117"/>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2" name="Freeform 31">
              <a:extLst>
                <a:ext uri="{FF2B5EF4-FFF2-40B4-BE49-F238E27FC236}">
                  <a16:creationId xmlns:a16="http://schemas.microsoft.com/office/drawing/2014/main" id="{1275DDBF-B86F-B045-BE1F-01830C38DCCD}"/>
                </a:ext>
              </a:extLst>
            </p:cNvPr>
            <p:cNvSpPr>
              <a:spLocks noEditPoints="1"/>
            </p:cNvSpPr>
            <p:nvPr/>
          </p:nvSpPr>
          <p:spPr bwMode="auto">
            <a:xfrm>
              <a:off x="7562851" y="427038"/>
              <a:ext cx="503238" cy="847725"/>
            </a:xfrm>
            <a:custGeom>
              <a:avLst/>
              <a:gdLst>
                <a:gd name="T0" fmla="*/ 130 w 265"/>
                <a:gd name="T1" fmla="*/ 420 h 445"/>
                <a:gd name="T2" fmla="*/ 238 w 265"/>
                <a:gd name="T3" fmla="*/ 281 h 445"/>
                <a:gd name="T4" fmla="*/ 133 w 265"/>
                <a:gd name="T5" fmla="*/ 143 h 445"/>
                <a:gd name="T6" fmla="*/ 25 w 265"/>
                <a:gd name="T7" fmla="*/ 282 h 445"/>
                <a:gd name="T8" fmla="*/ 130 w 265"/>
                <a:gd name="T9" fmla="*/ 420 h 445"/>
                <a:gd name="T10" fmla="*/ 0 w 265"/>
                <a:gd name="T11" fmla="*/ 0 h 445"/>
                <a:gd name="T12" fmla="*/ 26 w 265"/>
                <a:gd name="T13" fmla="*/ 0 h 445"/>
                <a:gd name="T14" fmla="*/ 26 w 265"/>
                <a:gd name="T15" fmla="*/ 163 h 445"/>
                <a:gd name="T16" fmla="*/ 23 w 265"/>
                <a:gd name="T17" fmla="*/ 188 h 445"/>
                <a:gd name="T18" fmla="*/ 24 w 265"/>
                <a:gd name="T19" fmla="*/ 188 h 445"/>
                <a:gd name="T20" fmla="*/ 134 w 265"/>
                <a:gd name="T21" fmla="*/ 117 h 445"/>
                <a:gd name="T22" fmla="*/ 265 w 265"/>
                <a:gd name="T23" fmla="*/ 281 h 445"/>
                <a:gd name="T24" fmla="*/ 129 w 265"/>
                <a:gd name="T25" fmla="*/ 445 h 445"/>
                <a:gd name="T26" fmla="*/ 24 w 265"/>
                <a:gd name="T27" fmla="*/ 374 h 445"/>
                <a:gd name="T28" fmla="*/ 23 w 265"/>
                <a:gd name="T29" fmla="*/ 374 h 445"/>
                <a:gd name="T30" fmla="*/ 26 w 265"/>
                <a:gd name="T31" fmla="*/ 402 h 445"/>
                <a:gd name="T32" fmla="*/ 26 w 265"/>
                <a:gd name="T33" fmla="*/ 438 h 445"/>
                <a:gd name="T34" fmla="*/ 0 w 265"/>
                <a:gd name="T35" fmla="*/ 438 h 445"/>
                <a:gd name="T36" fmla="*/ 0 w 265"/>
                <a:gd name="T37"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5" h="445">
                  <a:moveTo>
                    <a:pt x="130" y="420"/>
                  </a:moveTo>
                  <a:cubicBezTo>
                    <a:pt x="190" y="420"/>
                    <a:pt x="238" y="369"/>
                    <a:pt x="238" y="281"/>
                  </a:cubicBezTo>
                  <a:cubicBezTo>
                    <a:pt x="238" y="197"/>
                    <a:pt x="194" y="143"/>
                    <a:pt x="133" y="143"/>
                  </a:cubicBezTo>
                  <a:cubicBezTo>
                    <a:pt x="77" y="143"/>
                    <a:pt x="25" y="184"/>
                    <a:pt x="25" y="282"/>
                  </a:cubicBezTo>
                  <a:cubicBezTo>
                    <a:pt x="25" y="351"/>
                    <a:pt x="59" y="420"/>
                    <a:pt x="130" y="420"/>
                  </a:cubicBezTo>
                  <a:moveTo>
                    <a:pt x="0" y="0"/>
                  </a:moveTo>
                  <a:cubicBezTo>
                    <a:pt x="26" y="0"/>
                    <a:pt x="26" y="0"/>
                    <a:pt x="26" y="0"/>
                  </a:cubicBezTo>
                  <a:cubicBezTo>
                    <a:pt x="26" y="163"/>
                    <a:pt x="26" y="163"/>
                    <a:pt x="26" y="163"/>
                  </a:cubicBezTo>
                  <a:cubicBezTo>
                    <a:pt x="26" y="177"/>
                    <a:pt x="23" y="188"/>
                    <a:pt x="23" y="188"/>
                  </a:cubicBezTo>
                  <a:cubicBezTo>
                    <a:pt x="24" y="188"/>
                    <a:pt x="24" y="188"/>
                    <a:pt x="24" y="188"/>
                  </a:cubicBezTo>
                  <a:cubicBezTo>
                    <a:pt x="24" y="188"/>
                    <a:pt x="50" y="117"/>
                    <a:pt x="134" y="117"/>
                  </a:cubicBezTo>
                  <a:cubicBezTo>
                    <a:pt x="215" y="117"/>
                    <a:pt x="265" y="185"/>
                    <a:pt x="265" y="281"/>
                  </a:cubicBezTo>
                  <a:cubicBezTo>
                    <a:pt x="265" y="381"/>
                    <a:pt x="208" y="445"/>
                    <a:pt x="129" y="445"/>
                  </a:cubicBezTo>
                  <a:cubicBezTo>
                    <a:pt x="53" y="445"/>
                    <a:pt x="24" y="374"/>
                    <a:pt x="24" y="374"/>
                  </a:cubicBezTo>
                  <a:cubicBezTo>
                    <a:pt x="23" y="374"/>
                    <a:pt x="23" y="374"/>
                    <a:pt x="23" y="374"/>
                  </a:cubicBezTo>
                  <a:cubicBezTo>
                    <a:pt x="23" y="374"/>
                    <a:pt x="26" y="386"/>
                    <a:pt x="26" y="402"/>
                  </a:cubicBezTo>
                  <a:cubicBezTo>
                    <a:pt x="26" y="438"/>
                    <a:pt x="26" y="438"/>
                    <a:pt x="26"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3" name="Freeform 32">
              <a:extLst>
                <a:ext uri="{FF2B5EF4-FFF2-40B4-BE49-F238E27FC236}">
                  <a16:creationId xmlns:a16="http://schemas.microsoft.com/office/drawing/2014/main" id="{8E6B1AD7-A0D0-5C48-BCEF-3DBAD8894A28}"/>
                </a:ext>
              </a:extLst>
            </p:cNvPr>
            <p:cNvSpPr>
              <a:spLocks/>
            </p:cNvSpPr>
            <p:nvPr/>
          </p:nvSpPr>
          <p:spPr bwMode="auto">
            <a:xfrm>
              <a:off x="8070851" y="665163"/>
              <a:ext cx="536575" cy="844550"/>
            </a:xfrm>
            <a:custGeom>
              <a:avLst/>
              <a:gdLst>
                <a:gd name="T0" fmla="*/ 12 w 282"/>
                <a:gd name="T1" fmla="*/ 404 h 444"/>
                <a:gd name="T2" fmla="*/ 49 w 282"/>
                <a:gd name="T3" fmla="*/ 419 h 444"/>
                <a:gd name="T4" fmla="*/ 109 w 282"/>
                <a:gd name="T5" fmla="*/ 363 h 444"/>
                <a:gd name="T6" fmla="*/ 131 w 282"/>
                <a:gd name="T7" fmla="*/ 311 h 444"/>
                <a:gd name="T8" fmla="*/ 5 w 282"/>
                <a:gd name="T9" fmla="*/ 0 h 444"/>
                <a:gd name="T10" fmla="*/ 32 w 282"/>
                <a:gd name="T11" fmla="*/ 0 h 444"/>
                <a:gd name="T12" fmla="*/ 132 w 282"/>
                <a:gd name="T13" fmla="*/ 250 h 444"/>
                <a:gd name="T14" fmla="*/ 143 w 282"/>
                <a:gd name="T15" fmla="*/ 279 h 444"/>
                <a:gd name="T16" fmla="*/ 144 w 282"/>
                <a:gd name="T17" fmla="*/ 279 h 444"/>
                <a:gd name="T18" fmla="*/ 155 w 282"/>
                <a:gd name="T19" fmla="*/ 250 h 444"/>
                <a:gd name="T20" fmla="*/ 255 w 282"/>
                <a:gd name="T21" fmla="*/ 0 h 444"/>
                <a:gd name="T22" fmla="*/ 282 w 282"/>
                <a:gd name="T23" fmla="*/ 0 h 444"/>
                <a:gd name="T24" fmla="*/ 126 w 282"/>
                <a:gd name="T25" fmla="*/ 386 h 444"/>
                <a:gd name="T26" fmla="*/ 49 w 282"/>
                <a:gd name="T27" fmla="*/ 444 h 444"/>
                <a:gd name="T28" fmla="*/ 0 w 282"/>
                <a:gd name="T29" fmla="*/ 426 h 444"/>
                <a:gd name="T30" fmla="*/ 12 w 282"/>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2" h="444">
                  <a:moveTo>
                    <a:pt x="12" y="404"/>
                  </a:moveTo>
                  <a:cubicBezTo>
                    <a:pt x="12" y="404"/>
                    <a:pt x="29" y="419"/>
                    <a:pt x="49" y="419"/>
                  </a:cubicBezTo>
                  <a:cubicBezTo>
                    <a:pt x="78" y="419"/>
                    <a:pt x="97" y="392"/>
                    <a:pt x="109" y="363"/>
                  </a:cubicBezTo>
                  <a:cubicBezTo>
                    <a:pt x="131" y="311"/>
                    <a:pt x="131" y="311"/>
                    <a:pt x="131" y="311"/>
                  </a:cubicBezTo>
                  <a:cubicBezTo>
                    <a:pt x="5" y="0"/>
                    <a:pt x="5" y="0"/>
                    <a:pt x="5" y="0"/>
                  </a:cubicBezTo>
                  <a:cubicBezTo>
                    <a:pt x="32" y="0"/>
                    <a:pt x="32" y="0"/>
                    <a:pt x="32" y="0"/>
                  </a:cubicBezTo>
                  <a:cubicBezTo>
                    <a:pt x="132" y="250"/>
                    <a:pt x="132" y="250"/>
                    <a:pt x="132" y="250"/>
                  </a:cubicBezTo>
                  <a:cubicBezTo>
                    <a:pt x="138" y="264"/>
                    <a:pt x="143" y="279"/>
                    <a:pt x="143" y="279"/>
                  </a:cubicBezTo>
                  <a:cubicBezTo>
                    <a:pt x="144" y="279"/>
                    <a:pt x="144" y="279"/>
                    <a:pt x="144" y="279"/>
                  </a:cubicBezTo>
                  <a:cubicBezTo>
                    <a:pt x="144" y="279"/>
                    <a:pt x="149" y="264"/>
                    <a:pt x="155" y="250"/>
                  </a:cubicBezTo>
                  <a:cubicBezTo>
                    <a:pt x="255" y="0"/>
                    <a:pt x="255" y="0"/>
                    <a:pt x="255" y="0"/>
                  </a:cubicBezTo>
                  <a:cubicBezTo>
                    <a:pt x="282" y="0"/>
                    <a:pt x="282" y="0"/>
                    <a:pt x="282" y="0"/>
                  </a:cubicBezTo>
                  <a:cubicBezTo>
                    <a:pt x="126" y="386"/>
                    <a:pt x="126" y="386"/>
                    <a:pt x="126" y="386"/>
                  </a:cubicBezTo>
                  <a:cubicBezTo>
                    <a:pt x="113" y="418"/>
                    <a:pt x="88" y="444"/>
                    <a:pt x="49" y="444"/>
                  </a:cubicBezTo>
                  <a:cubicBezTo>
                    <a:pt x="20" y="444"/>
                    <a:pt x="0" y="426"/>
                    <a:pt x="0" y="426"/>
                  </a:cubicBezTo>
                  <a:lnTo>
                    <a:pt x="12"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4" name="Freeform 33">
              <a:extLst>
                <a:ext uri="{FF2B5EF4-FFF2-40B4-BE49-F238E27FC236}">
                  <a16:creationId xmlns:a16="http://schemas.microsoft.com/office/drawing/2014/main" id="{F91B1662-560F-784A-9FD6-EEEF6D1BDF4C}"/>
                </a:ext>
              </a:extLst>
            </p:cNvPr>
            <p:cNvSpPr>
              <a:spLocks noEditPoints="1"/>
            </p:cNvSpPr>
            <p:nvPr/>
          </p:nvSpPr>
          <p:spPr bwMode="auto">
            <a:xfrm>
              <a:off x="8963026" y="644526"/>
              <a:ext cx="552450" cy="854075"/>
            </a:xfrm>
            <a:custGeom>
              <a:avLst/>
              <a:gdLst>
                <a:gd name="T0" fmla="*/ 143 w 291"/>
                <a:gd name="T1" fmla="*/ 279 h 449"/>
                <a:gd name="T2" fmla="*/ 231 w 291"/>
                <a:gd name="T3" fmla="*/ 166 h 449"/>
                <a:gd name="T4" fmla="*/ 145 w 291"/>
                <a:gd name="T5" fmla="*/ 53 h 449"/>
                <a:gd name="T6" fmla="*/ 57 w 291"/>
                <a:gd name="T7" fmla="*/ 167 h 449"/>
                <a:gd name="T8" fmla="*/ 143 w 291"/>
                <a:gd name="T9" fmla="*/ 279 h 449"/>
                <a:gd name="T10" fmla="*/ 0 w 291"/>
                <a:gd name="T11" fmla="*/ 7 h 449"/>
                <a:gd name="T12" fmla="*/ 54 w 291"/>
                <a:gd name="T13" fmla="*/ 7 h 449"/>
                <a:gd name="T14" fmla="*/ 54 w 291"/>
                <a:gd name="T15" fmla="*/ 34 h 449"/>
                <a:gd name="T16" fmla="*/ 52 w 291"/>
                <a:gd name="T17" fmla="*/ 57 h 449"/>
                <a:gd name="T18" fmla="*/ 54 w 291"/>
                <a:gd name="T19" fmla="*/ 57 h 449"/>
                <a:gd name="T20" fmla="*/ 156 w 291"/>
                <a:gd name="T21" fmla="*/ 0 h 449"/>
                <a:gd name="T22" fmla="*/ 291 w 291"/>
                <a:gd name="T23" fmla="*/ 165 h 449"/>
                <a:gd name="T24" fmla="*/ 152 w 291"/>
                <a:gd name="T25" fmla="*/ 331 h 449"/>
                <a:gd name="T26" fmla="*/ 58 w 291"/>
                <a:gd name="T27" fmla="*/ 279 h 449"/>
                <a:gd name="T28" fmla="*/ 57 w 291"/>
                <a:gd name="T29" fmla="*/ 279 h 449"/>
                <a:gd name="T30" fmla="*/ 58 w 291"/>
                <a:gd name="T31" fmla="*/ 307 h 449"/>
                <a:gd name="T32" fmla="*/ 58 w 291"/>
                <a:gd name="T33" fmla="*/ 449 h 449"/>
                <a:gd name="T34" fmla="*/ 0 w 291"/>
                <a:gd name="T35" fmla="*/ 449 h 449"/>
                <a:gd name="T36" fmla="*/ 0 w 291"/>
                <a:gd name="T37" fmla="*/ 7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1" h="449">
                  <a:moveTo>
                    <a:pt x="143" y="279"/>
                  </a:moveTo>
                  <a:cubicBezTo>
                    <a:pt x="192" y="279"/>
                    <a:pt x="231" y="238"/>
                    <a:pt x="231" y="166"/>
                  </a:cubicBezTo>
                  <a:cubicBezTo>
                    <a:pt x="231" y="97"/>
                    <a:pt x="196" y="53"/>
                    <a:pt x="145" y="53"/>
                  </a:cubicBezTo>
                  <a:cubicBezTo>
                    <a:pt x="99" y="53"/>
                    <a:pt x="57" y="86"/>
                    <a:pt x="57" y="167"/>
                  </a:cubicBezTo>
                  <a:cubicBezTo>
                    <a:pt x="57" y="223"/>
                    <a:pt x="87" y="279"/>
                    <a:pt x="143" y="279"/>
                  </a:cubicBezTo>
                  <a:moveTo>
                    <a:pt x="0" y="7"/>
                  </a:moveTo>
                  <a:cubicBezTo>
                    <a:pt x="54" y="7"/>
                    <a:pt x="54" y="7"/>
                    <a:pt x="54" y="7"/>
                  </a:cubicBezTo>
                  <a:cubicBezTo>
                    <a:pt x="54" y="34"/>
                    <a:pt x="54" y="34"/>
                    <a:pt x="54" y="34"/>
                  </a:cubicBezTo>
                  <a:cubicBezTo>
                    <a:pt x="54" y="47"/>
                    <a:pt x="52" y="57"/>
                    <a:pt x="52" y="57"/>
                  </a:cubicBezTo>
                  <a:cubicBezTo>
                    <a:pt x="54" y="57"/>
                    <a:pt x="54" y="57"/>
                    <a:pt x="54" y="57"/>
                  </a:cubicBezTo>
                  <a:cubicBezTo>
                    <a:pt x="54" y="57"/>
                    <a:pt x="80" y="0"/>
                    <a:pt x="156" y="0"/>
                  </a:cubicBezTo>
                  <a:cubicBezTo>
                    <a:pt x="239" y="0"/>
                    <a:pt x="291" y="67"/>
                    <a:pt x="291" y="165"/>
                  </a:cubicBezTo>
                  <a:cubicBezTo>
                    <a:pt x="291" y="266"/>
                    <a:pt x="232" y="331"/>
                    <a:pt x="152" y="331"/>
                  </a:cubicBezTo>
                  <a:cubicBezTo>
                    <a:pt x="85" y="331"/>
                    <a:pt x="58" y="279"/>
                    <a:pt x="58" y="279"/>
                  </a:cubicBezTo>
                  <a:cubicBezTo>
                    <a:pt x="57" y="279"/>
                    <a:pt x="57" y="279"/>
                    <a:pt x="57" y="279"/>
                  </a:cubicBezTo>
                  <a:cubicBezTo>
                    <a:pt x="57" y="279"/>
                    <a:pt x="58" y="290"/>
                    <a:pt x="58" y="307"/>
                  </a:cubicBezTo>
                  <a:cubicBezTo>
                    <a:pt x="58" y="449"/>
                    <a:pt x="58" y="449"/>
                    <a:pt x="58" y="449"/>
                  </a:cubicBezTo>
                  <a:cubicBezTo>
                    <a:pt x="0" y="449"/>
                    <a:pt x="0" y="449"/>
                    <a:pt x="0" y="449"/>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5" name="Freeform 34">
              <a:extLst>
                <a:ext uri="{FF2B5EF4-FFF2-40B4-BE49-F238E27FC236}">
                  <a16:creationId xmlns:a16="http://schemas.microsoft.com/office/drawing/2014/main" id="{731D26DC-F3E8-9E45-B015-D6F78AE1DF15}"/>
                </a:ext>
              </a:extLst>
            </p:cNvPr>
            <p:cNvSpPr>
              <a:spLocks noEditPoints="1"/>
            </p:cNvSpPr>
            <p:nvPr/>
          </p:nvSpPr>
          <p:spPr bwMode="auto">
            <a:xfrm>
              <a:off x="9561513" y="644526"/>
              <a:ext cx="485775" cy="630238"/>
            </a:xfrm>
            <a:custGeom>
              <a:avLst/>
              <a:gdLst>
                <a:gd name="T0" fmla="*/ 116 w 256"/>
                <a:gd name="T1" fmla="*/ 282 h 331"/>
                <a:gd name="T2" fmla="*/ 198 w 256"/>
                <a:gd name="T3" fmla="*/ 182 h 331"/>
                <a:gd name="T4" fmla="*/ 198 w 256"/>
                <a:gd name="T5" fmla="*/ 172 h 331"/>
                <a:gd name="T6" fmla="*/ 183 w 256"/>
                <a:gd name="T7" fmla="*/ 172 h 331"/>
                <a:gd name="T8" fmla="*/ 59 w 256"/>
                <a:gd name="T9" fmla="*/ 232 h 331"/>
                <a:gd name="T10" fmla="*/ 116 w 256"/>
                <a:gd name="T11" fmla="*/ 282 h 331"/>
                <a:gd name="T12" fmla="*/ 184 w 256"/>
                <a:gd name="T13" fmla="*/ 126 h 331"/>
                <a:gd name="T14" fmla="*/ 198 w 256"/>
                <a:gd name="T15" fmla="*/ 126 h 331"/>
                <a:gd name="T16" fmla="*/ 198 w 256"/>
                <a:gd name="T17" fmla="*/ 120 h 331"/>
                <a:gd name="T18" fmla="*/ 130 w 256"/>
                <a:gd name="T19" fmla="*/ 51 h 331"/>
                <a:gd name="T20" fmla="*/ 45 w 256"/>
                <a:gd name="T21" fmla="*/ 82 h 331"/>
                <a:gd name="T22" fmla="*/ 21 w 256"/>
                <a:gd name="T23" fmla="*/ 37 h 331"/>
                <a:gd name="T24" fmla="*/ 135 w 256"/>
                <a:gd name="T25" fmla="*/ 0 h 331"/>
                <a:gd name="T26" fmla="*/ 256 w 256"/>
                <a:gd name="T27" fmla="*/ 124 h 331"/>
                <a:gd name="T28" fmla="*/ 256 w 256"/>
                <a:gd name="T29" fmla="*/ 324 h 331"/>
                <a:gd name="T30" fmla="*/ 202 w 256"/>
                <a:gd name="T31" fmla="*/ 324 h 331"/>
                <a:gd name="T32" fmla="*/ 202 w 256"/>
                <a:gd name="T33" fmla="*/ 294 h 331"/>
                <a:gd name="T34" fmla="*/ 203 w 256"/>
                <a:gd name="T35" fmla="*/ 269 h 331"/>
                <a:gd name="T36" fmla="*/ 202 w 256"/>
                <a:gd name="T37" fmla="*/ 269 h 331"/>
                <a:gd name="T38" fmla="*/ 104 w 256"/>
                <a:gd name="T39" fmla="*/ 331 h 331"/>
                <a:gd name="T40" fmla="*/ 0 w 256"/>
                <a:gd name="T41" fmla="*/ 235 h 331"/>
                <a:gd name="T42" fmla="*/ 184 w 256"/>
                <a:gd name="T43" fmla="*/ 12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6" h="331">
                  <a:moveTo>
                    <a:pt x="116" y="282"/>
                  </a:moveTo>
                  <a:cubicBezTo>
                    <a:pt x="166" y="282"/>
                    <a:pt x="198" y="229"/>
                    <a:pt x="198" y="182"/>
                  </a:cubicBezTo>
                  <a:cubicBezTo>
                    <a:pt x="198" y="172"/>
                    <a:pt x="198" y="172"/>
                    <a:pt x="198" y="172"/>
                  </a:cubicBezTo>
                  <a:cubicBezTo>
                    <a:pt x="183" y="172"/>
                    <a:pt x="183" y="172"/>
                    <a:pt x="183" y="172"/>
                  </a:cubicBezTo>
                  <a:cubicBezTo>
                    <a:pt x="139" y="172"/>
                    <a:pt x="59" y="175"/>
                    <a:pt x="59" y="232"/>
                  </a:cubicBezTo>
                  <a:cubicBezTo>
                    <a:pt x="59" y="257"/>
                    <a:pt x="78" y="282"/>
                    <a:pt x="116" y="282"/>
                  </a:cubicBezTo>
                  <a:moveTo>
                    <a:pt x="184" y="126"/>
                  </a:moveTo>
                  <a:cubicBezTo>
                    <a:pt x="198" y="126"/>
                    <a:pt x="198" y="126"/>
                    <a:pt x="198" y="126"/>
                  </a:cubicBezTo>
                  <a:cubicBezTo>
                    <a:pt x="198" y="120"/>
                    <a:pt x="198" y="120"/>
                    <a:pt x="198" y="120"/>
                  </a:cubicBezTo>
                  <a:cubicBezTo>
                    <a:pt x="198" y="68"/>
                    <a:pt x="169" y="51"/>
                    <a:pt x="130" y="51"/>
                  </a:cubicBezTo>
                  <a:cubicBezTo>
                    <a:pt x="83" y="51"/>
                    <a:pt x="45" y="82"/>
                    <a:pt x="45" y="82"/>
                  </a:cubicBezTo>
                  <a:cubicBezTo>
                    <a:pt x="21" y="37"/>
                    <a:pt x="21" y="37"/>
                    <a:pt x="21" y="37"/>
                  </a:cubicBezTo>
                  <a:cubicBezTo>
                    <a:pt x="21" y="37"/>
                    <a:pt x="65" y="0"/>
                    <a:pt x="135" y="0"/>
                  </a:cubicBezTo>
                  <a:cubicBezTo>
                    <a:pt x="213" y="0"/>
                    <a:pt x="256" y="44"/>
                    <a:pt x="256" y="124"/>
                  </a:cubicBezTo>
                  <a:cubicBezTo>
                    <a:pt x="256" y="324"/>
                    <a:pt x="256" y="324"/>
                    <a:pt x="256" y="324"/>
                  </a:cubicBezTo>
                  <a:cubicBezTo>
                    <a:pt x="202" y="324"/>
                    <a:pt x="202" y="324"/>
                    <a:pt x="202" y="324"/>
                  </a:cubicBezTo>
                  <a:cubicBezTo>
                    <a:pt x="202" y="294"/>
                    <a:pt x="202" y="294"/>
                    <a:pt x="202" y="294"/>
                  </a:cubicBezTo>
                  <a:cubicBezTo>
                    <a:pt x="202" y="279"/>
                    <a:pt x="203" y="269"/>
                    <a:pt x="203" y="269"/>
                  </a:cubicBezTo>
                  <a:cubicBezTo>
                    <a:pt x="202" y="269"/>
                    <a:pt x="202" y="269"/>
                    <a:pt x="202" y="269"/>
                  </a:cubicBezTo>
                  <a:cubicBezTo>
                    <a:pt x="202" y="269"/>
                    <a:pt x="177" y="331"/>
                    <a:pt x="104" y="331"/>
                  </a:cubicBezTo>
                  <a:cubicBezTo>
                    <a:pt x="51" y="331"/>
                    <a:pt x="0" y="298"/>
                    <a:pt x="0" y="235"/>
                  </a:cubicBezTo>
                  <a:cubicBezTo>
                    <a:pt x="0" y="130"/>
                    <a:pt x="133" y="126"/>
                    <a:pt x="184" y="126"/>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6" name="Freeform 35">
              <a:extLst>
                <a:ext uri="{FF2B5EF4-FFF2-40B4-BE49-F238E27FC236}">
                  <a16:creationId xmlns:a16="http://schemas.microsoft.com/office/drawing/2014/main" id="{8FAA521A-968C-CD4B-8A59-CAF7F55FA214}"/>
                </a:ext>
              </a:extLst>
            </p:cNvPr>
            <p:cNvSpPr>
              <a:spLocks/>
            </p:cNvSpPr>
            <p:nvPr/>
          </p:nvSpPr>
          <p:spPr bwMode="auto">
            <a:xfrm>
              <a:off x="10104438" y="492126"/>
              <a:ext cx="338138" cy="773113"/>
            </a:xfrm>
            <a:custGeom>
              <a:avLst/>
              <a:gdLst>
                <a:gd name="T0" fmla="*/ 40 w 178"/>
                <a:gd name="T1" fmla="*/ 140 h 406"/>
                <a:gd name="T2" fmla="*/ 0 w 178"/>
                <a:gd name="T3" fmla="*/ 140 h 406"/>
                <a:gd name="T4" fmla="*/ 0 w 178"/>
                <a:gd name="T5" fmla="*/ 92 h 406"/>
                <a:gd name="T6" fmla="*/ 42 w 178"/>
                <a:gd name="T7" fmla="*/ 92 h 406"/>
                <a:gd name="T8" fmla="*/ 42 w 178"/>
                <a:gd name="T9" fmla="*/ 0 h 406"/>
                <a:gd name="T10" fmla="*/ 99 w 178"/>
                <a:gd name="T11" fmla="*/ 0 h 406"/>
                <a:gd name="T12" fmla="*/ 99 w 178"/>
                <a:gd name="T13" fmla="*/ 92 h 406"/>
                <a:gd name="T14" fmla="*/ 173 w 178"/>
                <a:gd name="T15" fmla="*/ 92 h 406"/>
                <a:gd name="T16" fmla="*/ 173 w 178"/>
                <a:gd name="T17" fmla="*/ 140 h 406"/>
                <a:gd name="T18" fmla="*/ 99 w 178"/>
                <a:gd name="T19" fmla="*/ 140 h 406"/>
                <a:gd name="T20" fmla="*/ 99 w 178"/>
                <a:gd name="T21" fmla="*/ 281 h 406"/>
                <a:gd name="T22" fmla="*/ 164 w 178"/>
                <a:gd name="T23" fmla="*/ 352 h 406"/>
                <a:gd name="T24" fmla="*/ 178 w 178"/>
                <a:gd name="T25" fmla="*/ 351 h 406"/>
                <a:gd name="T26" fmla="*/ 178 w 178"/>
                <a:gd name="T27" fmla="*/ 405 h 406"/>
                <a:gd name="T28" fmla="*/ 158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2" y="92"/>
                    <a:pt x="42" y="92"/>
                    <a:pt x="42" y="92"/>
                  </a:cubicBezTo>
                  <a:cubicBezTo>
                    <a:pt x="42" y="0"/>
                    <a:pt x="42" y="0"/>
                    <a:pt x="42" y="0"/>
                  </a:cubicBezTo>
                  <a:cubicBezTo>
                    <a:pt x="99" y="0"/>
                    <a:pt x="99" y="0"/>
                    <a:pt x="99" y="0"/>
                  </a:cubicBezTo>
                  <a:cubicBezTo>
                    <a:pt x="99" y="92"/>
                    <a:pt x="99" y="92"/>
                    <a:pt x="99" y="92"/>
                  </a:cubicBezTo>
                  <a:cubicBezTo>
                    <a:pt x="173" y="92"/>
                    <a:pt x="173" y="92"/>
                    <a:pt x="173" y="92"/>
                  </a:cubicBezTo>
                  <a:cubicBezTo>
                    <a:pt x="173" y="140"/>
                    <a:pt x="173" y="140"/>
                    <a:pt x="173" y="140"/>
                  </a:cubicBezTo>
                  <a:cubicBezTo>
                    <a:pt x="99" y="140"/>
                    <a:pt x="99" y="140"/>
                    <a:pt x="99" y="140"/>
                  </a:cubicBezTo>
                  <a:cubicBezTo>
                    <a:pt x="99" y="281"/>
                    <a:pt x="99" y="281"/>
                    <a:pt x="99" y="281"/>
                  </a:cubicBezTo>
                  <a:cubicBezTo>
                    <a:pt x="99" y="344"/>
                    <a:pt x="142" y="352"/>
                    <a:pt x="164" y="352"/>
                  </a:cubicBezTo>
                  <a:cubicBezTo>
                    <a:pt x="173" y="352"/>
                    <a:pt x="178" y="351"/>
                    <a:pt x="178" y="351"/>
                  </a:cubicBezTo>
                  <a:cubicBezTo>
                    <a:pt x="178" y="405"/>
                    <a:pt x="178" y="405"/>
                    <a:pt x="178" y="405"/>
                  </a:cubicBezTo>
                  <a:cubicBezTo>
                    <a:pt x="178" y="405"/>
                    <a:pt x="170" y="406"/>
                    <a:pt x="158"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7" name="Freeform 36">
              <a:extLst>
                <a:ext uri="{FF2B5EF4-FFF2-40B4-BE49-F238E27FC236}">
                  <a16:creationId xmlns:a16="http://schemas.microsoft.com/office/drawing/2014/main" id="{13ED5A3D-4D5E-7346-8599-9BFFDD3FA125}"/>
                </a:ext>
              </a:extLst>
            </p:cNvPr>
            <p:cNvSpPr>
              <a:spLocks noEditPoints="1"/>
            </p:cNvSpPr>
            <p:nvPr/>
          </p:nvSpPr>
          <p:spPr bwMode="auto">
            <a:xfrm>
              <a:off x="10509251" y="419101"/>
              <a:ext cx="111125" cy="841375"/>
            </a:xfrm>
            <a:custGeom>
              <a:avLst/>
              <a:gdLst>
                <a:gd name="T0" fmla="*/ 1 w 70"/>
                <a:gd name="T1" fmla="*/ 150 h 530"/>
                <a:gd name="T2" fmla="*/ 70 w 70"/>
                <a:gd name="T3" fmla="*/ 150 h 530"/>
                <a:gd name="T4" fmla="*/ 70 w 70"/>
                <a:gd name="T5" fmla="*/ 530 h 530"/>
                <a:gd name="T6" fmla="*/ 1 w 70"/>
                <a:gd name="T7" fmla="*/ 530 h 530"/>
                <a:gd name="T8" fmla="*/ 1 w 70"/>
                <a:gd name="T9" fmla="*/ 150 h 530"/>
                <a:gd name="T10" fmla="*/ 0 w 70"/>
                <a:gd name="T11" fmla="*/ 0 h 530"/>
                <a:gd name="T12" fmla="*/ 70 w 70"/>
                <a:gd name="T13" fmla="*/ 0 h 530"/>
                <a:gd name="T14" fmla="*/ 70 w 70"/>
                <a:gd name="T15" fmla="*/ 75 h 530"/>
                <a:gd name="T16" fmla="*/ 0 w 70"/>
                <a:gd name="T17" fmla="*/ 75 h 530"/>
                <a:gd name="T18" fmla="*/ 0 w 70"/>
                <a:gd name="T19" fmla="*/ 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0" h="530">
                  <a:moveTo>
                    <a:pt x="1" y="150"/>
                  </a:moveTo>
                  <a:lnTo>
                    <a:pt x="70" y="150"/>
                  </a:lnTo>
                  <a:lnTo>
                    <a:pt x="70" y="530"/>
                  </a:lnTo>
                  <a:lnTo>
                    <a:pt x="1" y="530"/>
                  </a:lnTo>
                  <a:lnTo>
                    <a:pt x="1" y="150"/>
                  </a:lnTo>
                  <a:close/>
                  <a:moveTo>
                    <a:pt x="0" y="0"/>
                  </a:moveTo>
                  <a:lnTo>
                    <a:pt x="70" y="0"/>
                  </a:lnTo>
                  <a:lnTo>
                    <a:pt x="70" y="75"/>
                  </a:lnTo>
                  <a:lnTo>
                    <a:pt x="0" y="7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8" name="Freeform 37">
              <a:extLst>
                <a:ext uri="{FF2B5EF4-FFF2-40B4-BE49-F238E27FC236}">
                  <a16:creationId xmlns:a16="http://schemas.microsoft.com/office/drawing/2014/main" id="{8C3D4942-1EFE-9541-BB74-62E866748C53}"/>
                </a:ext>
              </a:extLst>
            </p:cNvPr>
            <p:cNvSpPr>
              <a:spLocks noEditPoints="1"/>
            </p:cNvSpPr>
            <p:nvPr/>
          </p:nvSpPr>
          <p:spPr bwMode="auto">
            <a:xfrm>
              <a:off x="10712451" y="644526"/>
              <a:ext cx="542925" cy="630238"/>
            </a:xfrm>
            <a:custGeom>
              <a:avLst/>
              <a:gdLst>
                <a:gd name="T0" fmla="*/ 226 w 286"/>
                <a:gd name="T1" fmla="*/ 129 h 331"/>
                <a:gd name="T2" fmla="*/ 152 w 286"/>
                <a:gd name="T3" fmla="*/ 48 h 331"/>
                <a:gd name="T4" fmla="*/ 63 w 286"/>
                <a:gd name="T5" fmla="*/ 129 h 331"/>
                <a:gd name="T6" fmla="*/ 226 w 286"/>
                <a:gd name="T7" fmla="*/ 129 h 331"/>
                <a:gd name="T8" fmla="*/ 153 w 286"/>
                <a:gd name="T9" fmla="*/ 0 h 331"/>
                <a:gd name="T10" fmla="*/ 286 w 286"/>
                <a:gd name="T11" fmla="*/ 148 h 331"/>
                <a:gd name="T12" fmla="*/ 284 w 286"/>
                <a:gd name="T13" fmla="*/ 174 h 331"/>
                <a:gd name="T14" fmla="*/ 61 w 286"/>
                <a:gd name="T15" fmla="*/ 174 h 331"/>
                <a:gd name="T16" fmla="*/ 166 w 286"/>
                <a:gd name="T17" fmla="*/ 279 h 331"/>
                <a:gd name="T18" fmla="*/ 257 w 286"/>
                <a:gd name="T19" fmla="*/ 242 h 331"/>
                <a:gd name="T20" fmla="*/ 281 w 286"/>
                <a:gd name="T21" fmla="*/ 286 h 331"/>
                <a:gd name="T22" fmla="*/ 162 w 286"/>
                <a:gd name="T23" fmla="*/ 331 h 331"/>
                <a:gd name="T24" fmla="*/ 0 w 286"/>
                <a:gd name="T25" fmla="*/ 165 h 331"/>
                <a:gd name="T26" fmla="*/ 153 w 286"/>
                <a:gd name="T27"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6" h="331">
                  <a:moveTo>
                    <a:pt x="226" y="129"/>
                  </a:moveTo>
                  <a:cubicBezTo>
                    <a:pt x="224" y="74"/>
                    <a:pt x="192" y="48"/>
                    <a:pt x="152" y="48"/>
                  </a:cubicBezTo>
                  <a:cubicBezTo>
                    <a:pt x="107" y="48"/>
                    <a:pt x="71" y="77"/>
                    <a:pt x="63" y="129"/>
                  </a:cubicBezTo>
                  <a:lnTo>
                    <a:pt x="226" y="129"/>
                  </a:lnTo>
                  <a:close/>
                  <a:moveTo>
                    <a:pt x="153" y="0"/>
                  </a:moveTo>
                  <a:cubicBezTo>
                    <a:pt x="240" y="0"/>
                    <a:pt x="286" y="66"/>
                    <a:pt x="286" y="148"/>
                  </a:cubicBezTo>
                  <a:cubicBezTo>
                    <a:pt x="286" y="156"/>
                    <a:pt x="284" y="174"/>
                    <a:pt x="284" y="174"/>
                  </a:cubicBezTo>
                  <a:cubicBezTo>
                    <a:pt x="61" y="174"/>
                    <a:pt x="61" y="174"/>
                    <a:pt x="61" y="174"/>
                  </a:cubicBezTo>
                  <a:cubicBezTo>
                    <a:pt x="64" y="244"/>
                    <a:pt x="112" y="279"/>
                    <a:pt x="166" y="279"/>
                  </a:cubicBezTo>
                  <a:cubicBezTo>
                    <a:pt x="219" y="279"/>
                    <a:pt x="257" y="242"/>
                    <a:pt x="257" y="242"/>
                  </a:cubicBezTo>
                  <a:cubicBezTo>
                    <a:pt x="281" y="286"/>
                    <a:pt x="281" y="286"/>
                    <a:pt x="281" y="286"/>
                  </a:cubicBezTo>
                  <a:cubicBezTo>
                    <a:pt x="281" y="286"/>
                    <a:pt x="236" y="331"/>
                    <a:pt x="162" y="331"/>
                  </a:cubicBezTo>
                  <a:cubicBezTo>
                    <a:pt x="66" y="331"/>
                    <a:pt x="0" y="259"/>
                    <a:pt x="0" y="165"/>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39" name="Freeform 38">
              <a:extLst>
                <a:ext uri="{FF2B5EF4-FFF2-40B4-BE49-F238E27FC236}">
                  <a16:creationId xmlns:a16="http://schemas.microsoft.com/office/drawing/2014/main" id="{08097239-3B22-A84D-A6DF-2CD8DE9C63DB}"/>
                </a:ext>
              </a:extLst>
            </p:cNvPr>
            <p:cNvSpPr>
              <a:spLocks/>
            </p:cNvSpPr>
            <p:nvPr/>
          </p:nvSpPr>
          <p:spPr bwMode="auto">
            <a:xfrm>
              <a:off x="11350626" y="644526"/>
              <a:ext cx="527050" cy="615950"/>
            </a:xfrm>
            <a:custGeom>
              <a:avLst/>
              <a:gdLst>
                <a:gd name="T0" fmla="*/ 0 w 277"/>
                <a:gd name="T1" fmla="*/ 7 h 324"/>
                <a:gd name="T2" fmla="*/ 56 w 277"/>
                <a:gd name="T3" fmla="*/ 7 h 324"/>
                <a:gd name="T4" fmla="*/ 56 w 277"/>
                <a:gd name="T5" fmla="*/ 49 h 324"/>
                <a:gd name="T6" fmla="*/ 55 w 277"/>
                <a:gd name="T7" fmla="*/ 72 h 324"/>
                <a:gd name="T8" fmla="*/ 56 w 277"/>
                <a:gd name="T9" fmla="*/ 72 h 324"/>
                <a:gd name="T10" fmla="*/ 171 w 277"/>
                <a:gd name="T11" fmla="*/ 0 h 324"/>
                <a:gd name="T12" fmla="*/ 277 w 277"/>
                <a:gd name="T13" fmla="*/ 121 h 324"/>
                <a:gd name="T14" fmla="*/ 277 w 277"/>
                <a:gd name="T15" fmla="*/ 324 h 324"/>
                <a:gd name="T16" fmla="*/ 218 w 277"/>
                <a:gd name="T17" fmla="*/ 324 h 324"/>
                <a:gd name="T18" fmla="*/ 218 w 277"/>
                <a:gd name="T19" fmla="*/ 135 h 324"/>
                <a:gd name="T20" fmla="*/ 160 w 277"/>
                <a:gd name="T21" fmla="*/ 55 h 324"/>
                <a:gd name="T22" fmla="*/ 63 w 277"/>
                <a:gd name="T23" fmla="*/ 133 h 324"/>
                <a:gd name="T24" fmla="*/ 58 w 277"/>
                <a:gd name="T25" fmla="*/ 175 h 324"/>
                <a:gd name="T26" fmla="*/ 58 w 277"/>
                <a:gd name="T27" fmla="*/ 324 h 324"/>
                <a:gd name="T28" fmla="*/ 0 w 277"/>
                <a:gd name="T29" fmla="*/ 324 h 324"/>
                <a:gd name="T30" fmla="*/ 0 w 277"/>
                <a:gd name="T31" fmla="*/ 7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7"/>
                  </a:moveTo>
                  <a:cubicBezTo>
                    <a:pt x="56" y="7"/>
                    <a:pt x="56" y="7"/>
                    <a:pt x="56" y="7"/>
                  </a:cubicBezTo>
                  <a:cubicBezTo>
                    <a:pt x="56" y="49"/>
                    <a:pt x="56" y="49"/>
                    <a:pt x="56" y="49"/>
                  </a:cubicBezTo>
                  <a:cubicBezTo>
                    <a:pt x="56" y="62"/>
                    <a:pt x="55" y="72"/>
                    <a:pt x="55" y="72"/>
                  </a:cubicBezTo>
                  <a:cubicBezTo>
                    <a:pt x="56" y="72"/>
                    <a:pt x="56" y="72"/>
                    <a:pt x="56" y="72"/>
                  </a:cubicBezTo>
                  <a:cubicBezTo>
                    <a:pt x="69" y="45"/>
                    <a:pt x="105" y="0"/>
                    <a:pt x="171" y="0"/>
                  </a:cubicBezTo>
                  <a:cubicBezTo>
                    <a:pt x="243" y="0"/>
                    <a:pt x="277" y="40"/>
                    <a:pt x="277" y="121"/>
                  </a:cubicBezTo>
                  <a:cubicBezTo>
                    <a:pt x="277" y="324"/>
                    <a:pt x="277" y="324"/>
                    <a:pt x="277" y="324"/>
                  </a:cubicBezTo>
                  <a:cubicBezTo>
                    <a:pt x="218" y="324"/>
                    <a:pt x="218" y="324"/>
                    <a:pt x="218" y="324"/>
                  </a:cubicBezTo>
                  <a:cubicBezTo>
                    <a:pt x="218" y="135"/>
                    <a:pt x="218" y="135"/>
                    <a:pt x="218" y="135"/>
                  </a:cubicBezTo>
                  <a:cubicBezTo>
                    <a:pt x="218" y="90"/>
                    <a:pt x="209" y="55"/>
                    <a:pt x="160" y="55"/>
                  </a:cubicBezTo>
                  <a:cubicBezTo>
                    <a:pt x="113" y="55"/>
                    <a:pt x="76" y="87"/>
                    <a:pt x="63" y="133"/>
                  </a:cubicBezTo>
                  <a:cubicBezTo>
                    <a:pt x="59" y="145"/>
                    <a:pt x="58" y="160"/>
                    <a:pt x="58" y="175"/>
                  </a:cubicBezTo>
                  <a:cubicBezTo>
                    <a:pt x="58" y="324"/>
                    <a:pt x="58" y="324"/>
                    <a:pt x="58" y="324"/>
                  </a:cubicBezTo>
                  <a:cubicBezTo>
                    <a:pt x="0" y="324"/>
                    <a:pt x="0" y="324"/>
                    <a:pt x="0" y="324"/>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0" name="Freeform 39">
              <a:extLst>
                <a:ext uri="{FF2B5EF4-FFF2-40B4-BE49-F238E27FC236}">
                  <a16:creationId xmlns:a16="http://schemas.microsoft.com/office/drawing/2014/main" id="{BC1B8998-5FD2-5747-8943-5A87313043F1}"/>
                </a:ext>
              </a:extLst>
            </p:cNvPr>
            <p:cNvSpPr>
              <a:spLocks/>
            </p:cNvSpPr>
            <p:nvPr/>
          </p:nvSpPr>
          <p:spPr bwMode="auto">
            <a:xfrm>
              <a:off x="11933238" y="492126"/>
              <a:ext cx="339725" cy="773113"/>
            </a:xfrm>
            <a:custGeom>
              <a:avLst/>
              <a:gdLst>
                <a:gd name="T0" fmla="*/ 40 w 178"/>
                <a:gd name="T1" fmla="*/ 140 h 406"/>
                <a:gd name="T2" fmla="*/ 0 w 178"/>
                <a:gd name="T3" fmla="*/ 140 h 406"/>
                <a:gd name="T4" fmla="*/ 0 w 178"/>
                <a:gd name="T5" fmla="*/ 92 h 406"/>
                <a:gd name="T6" fmla="*/ 41 w 178"/>
                <a:gd name="T7" fmla="*/ 92 h 406"/>
                <a:gd name="T8" fmla="*/ 41 w 178"/>
                <a:gd name="T9" fmla="*/ 0 h 406"/>
                <a:gd name="T10" fmla="*/ 98 w 178"/>
                <a:gd name="T11" fmla="*/ 0 h 406"/>
                <a:gd name="T12" fmla="*/ 98 w 178"/>
                <a:gd name="T13" fmla="*/ 92 h 406"/>
                <a:gd name="T14" fmla="*/ 172 w 178"/>
                <a:gd name="T15" fmla="*/ 92 h 406"/>
                <a:gd name="T16" fmla="*/ 172 w 178"/>
                <a:gd name="T17" fmla="*/ 140 h 406"/>
                <a:gd name="T18" fmla="*/ 98 w 178"/>
                <a:gd name="T19" fmla="*/ 140 h 406"/>
                <a:gd name="T20" fmla="*/ 98 w 178"/>
                <a:gd name="T21" fmla="*/ 281 h 406"/>
                <a:gd name="T22" fmla="*/ 164 w 178"/>
                <a:gd name="T23" fmla="*/ 352 h 406"/>
                <a:gd name="T24" fmla="*/ 178 w 178"/>
                <a:gd name="T25" fmla="*/ 351 h 406"/>
                <a:gd name="T26" fmla="*/ 178 w 178"/>
                <a:gd name="T27" fmla="*/ 405 h 406"/>
                <a:gd name="T28" fmla="*/ 157 w 178"/>
                <a:gd name="T29" fmla="*/ 406 h 406"/>
                <a:gd name="T30" fmla="*/ 40 w 178"/>
                <a:gd name="T31" fmla="*/ 288 h 406"/>
                <a:gd name="T32" fmla="*/ 40 w 178"/>
                <a:gd name="T33" fmla="*/ 14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8" h="406">
                  <a:moveTo>
                    <a:pt x="40" y="140"/>
                  </a:moveTo>
                  <a:cubicBezTo>
                    <a:pt x="0" y="140"/>
                    <a:pt x="0" y="140"/>
                    <a:pt x="0" y="140"/>
                  </a:cubicBezTo>
                  <a:cubicBezTo>
                    <a:pt x="0" y="92"/>
                    <a:pt x="0" y="92"/>
                    <a:pt x="0" y="92"/>
                  </a:cubicBezTo>
                  <a:cubicBezTo>
                    <a:pt x="41" y="92"/>
                    <a:pt x="41" y="92"/>
                    <a:pt x="41" y="92"/>
                  </a:cubicBezTo>
                  <a:cubicBezTo>
                    <a:pt x="41" y="0"/>
                    <a:pt x="41" y="0"/>
                    <a:pt x="41" y="0"/>
                  </a:cubicBezTo>
                  <a:cubicBezTo>
                    <a:pt x="98" y="0"/>
                    <a:pt x="98" y="0"/>
                    <a:pt x="98" y="0"/>
                  </a:cubicBezTo>
                  <a:cubicBezTo>
                    <a:pt x="98" y="92"/>
                    <a:pt x="98" y="92"/>
                    <a:pt x="98" y="92"/>
                  </a:cubicBezTo>
                  <a:cubicBezTo>
                    <a:pt x="172" y="92"/>
                    <a:pt x="172" y="92"/>
                    <a:pt x="172" y="92"/>
                  </a:cubicBezTo>
                  <a:cubicBezTo>
                    <a:pt x="172" y="140"/>
                    <a:pt x="172" y="140"/>
                    <a:pt x="172" y="140"/>
                  </a:cubicBezTo>
                  <a:cubicBezTo>
                    <a:pt x="98" y="140"/>
                    <a:pt x="98" y="140"/>
                    <a:pt x="98" y="140"/>
                  </a:cubicBezTo>
                  <a:cubicBezTo>
                    <a:pt x="98" y="281"/>
                    <a:pt x="98" y="281"/>
                    <a:pt x="98" y="281"/>
                  </a:cubicBezTo>
                  <a:cubicBezTo>
                    <a:pt x="98" y="344"/>
                    <a:pt x="141" y="352"/>
                    <a:pt x="164" y="352"/>
                  </a:cubicBezTo>
                  <a:cubicBezTo>
                    <a:pt x="172" y="352"/>
                    <a:pt x="178" y="351"/>
                    <a:pt x="178" y="351"/>
                  </a:cubicBezTo>
                  <a:cubicBezTo>
                    <a:pt x="178" y="405"/>
                    <a:pt x="178" y="405"/>
                    <a:pt x="178" y="405"/>
                  </a:cubicBezTo>
                  <a:cubicBezTo>
                    <a:pt x="178" y="405"/>
                    <a:pt x="169" y="406"/>
                    <a:pt x="157" y="406"/>
                  </a:cubicBezTo>
                  <a:cubicBezTo>
                    <a:pt x="118" y="406"/>
                    <a:pt x="40" y="394"/>
                    <a:pt x="40" y="288"/>
                  </a:cubicBezTo>
                  <a:lnTo>
                    <a:pt x="40" y="14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1" name="Freeform 40">
              <a:extLst>
                <a:ext uri="{FF2B5EF4-FFF2-40B4-BE49-F238E27FC236}">
                  <a16:creationId xmlns:a16="http://schemas.microsoft.com/office/drawing/2014/main" id="{EAA25A28-653C-D14E-8678-1E37A45867E6}"/>
                </a:ext>
              </a:extLst>
            </p:cNvPr>
            <p:cNvSpPr>
              <a:spLocks/>
            </p:cNvSpPr>
            <p:nvPr/>
          </p:nvSpPr>
          <p:spPr bwMode="auto">
            <a:xfrm>
              <a:off x="12314238" y="644526"/>
              <a:ext cx="431800" cy="630238"/>
            </a:xfrm>
            <a:custGeom>
              <a:avLst/>
              <a:gdLst>
                <a:gd name="T0" fmla="*/ 28 w 227"/>
                <a:gd name="T1" fmla="*/ 242 h 331"/>
                <a:gd name="T2" fmla="*/ 116 w 227"/>
                <a:gd name="T3" fmla="*/ 279 h 331"/>
                <a:gd name="T4" fmla="*/ 167 w 227"/>
                <a:gd name="T5" fmla="*/ 239 h 331"/>
                <a:gd name="T6" fmla="*/ 10 w 227"/>
                <a:gd name="T7" fmla="*/ 90 h 331"/>
                <a:gd name="T8" fmla="*/ 120 w 227"/>
                <a:gd name="T9" fmla="*/ 0 h 331"/>
                <a:gd name="T10" fmla="*/ 219 w 227"/>
                <a:gd name="T11" fmla="*/ 35 h 331"/>
                <a:gd name="T12" fmla="*/ 195 w 227"/>
                <a:gd name="T13" fmla="*/ 80 h 331"/>
                <a:gd name="T14" fmla="*/ 120 w 227"/>
                <a:gd name="T15" fmla="*/ 52 h 331"/>
                <a:gd name="T16" fmla="*/ 70 w 227"/>
                <a:gd name="T17" fmla="*/ 91 h 331"/>
                <a:gd name="T18" fmla="*/ 227 w 227"/>
                <a:gd name="T19" fmla="*/ 239 h 331"/>
                <a:gd name="T20" fmla="*/ 116 w 227"/>
                <a:gd name="T21" fmla="*/ 331 h 331"/>
                <a:gd name="T22" fmla="*/ 0 w 227"/>
                <a:gd name="T23" fmla="*/ 285 h 331"/>
                <a:gd name="T24" fmla="*/ 28 w 227"/>
                <a:gd name="T25" fmla="*/ 24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1">
                  <a:moveTo>
                    <a:pt x="28" y="242"/>
                  </a:moveTo>
                  <a:cubicBezTo>
                    <a:pt x="28" y="242"/>
                    <a:pt x="63" y="279"/>
                    <a:pt x="116" y="279"/>
                  </a:cubicBezTo>
                  <a:cubicBezTo>
                    <a:pt x="142" y="279"/>
                    <a:pt x="167" y="265"/>
                    <a:pt x="167" y="239"/>
                  </a:cubicBezTo>
                  <a:cubicBezTo>
                    <a:pt x="167" y="181"/>
                    <a:pt x="10" y="193"/>
                    <a:pt x="10" y="90"/>
                  </a:cubicBezTo>
                  <a:cubicBezTo>
                    <a:pt x="10" y="32"/>
                    <a:pt x="59" y="0"/>
                    <a:pt x="120" y="0"/>
                  </a:cubicBezTo>
                  <a:cubicBezTo>
                    <a:pt x="188" y="0"/>
                    <a:pt x="219" y="35"/>
                    <a:pt x="219" y="35"/>
                  </a:cubicBezTo>
                  <a:cubicBezTo>
                    <a:pt x="195" y="80"/>
                    <a:pt x="195" y="80"/>
                    <a:pt x="195" y="80"/>
                  </a:cubicBezTo>
                  <a:cubicBezTo>
                    <a:pt x="195" y="80"/>
                    <a:pt x="168" y="52"/>
                    <a:pt x="120" y="52"/>
                  </a:cubicBezTo>
                  <a:cubicBezTo>
                    <a:pt x="94" y="52"/>
                    <a:pt x="70" y="63"/>
                    <a:pt x="70" y="91"/>
                  </a:cubicBezTo>
                  <a:cubicBezTo>
                    <a:pt x="70" y="148"/>
                    <a:pt x="227" y="135"/>
                    <a:pt x="227" y="239"/>
                  </a:cubicBezTo>
                  <a:cubicBezTo>
                    <a:pt x="227" y="292"/>
                    <a:pt x="183" y="331"/>
                    <a:pt x="116" y="331"/>
                  </a:cubicBezTo>
                  <a:cubicBezTo>
                    <a:pt x="41" y="331"/>
                    <a:pt x="0" y="285"/>
                    <a:pt x="0" y="285"/>
                  </a:cubicBezTo>
                  <a:lnTo>
                    <a:pt x="28"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2" name="Rectangle 41">
              <a:extLst>
                <a:ext uri="{FF2B5EF4-FFF2-40B4-BE49-F238E27FC236}">
                  <a16:creationId xmlns:a16="http://schemas.microsoft.com/office/drawing/2014/main" id="{90537320-0AA8-104B-8445-D90BE3E22DF6}"/>
                </a:ext>
              </a:extLst>
            </p:cNvPr>
            <p:cNvSpPr>
              <a:spLocks noChangeArrowheads="1"/>
            </p:cNvSpPr>
            <p:nvPr/>
          </p:nvSpPr>
          <p:spPr bwMode="auto">
            <a:xfrm>
              <a:off x="12846051" y="1136651"/>
              <a:ext cx="117475" cy="123825"/>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3" name="Freeform 42">
              <a:extLst>
                <a:ext uri="{FF2B5EF4-FFF2-40B4-BE49-F238E27FC236}">
                  <a16:creationId xmlns:a16="http://schemas.microsoft.com/office/drawing/2014/main" id="{EF1D6FE9-AA4A-BB4A-90A6-F37E2B7785DD}"/>
                </a:ext>
              </a:extLst>
            </p:cNvPr>
            <p:cNvSpPr>
              <a:spLocks noEditPoints="1"/>
            </p:cNvSpPr>
            <p:nvPr/>
          </p:nvSpPr>
          <p:spPr bwMode="auto">
            <a:xfrm>
              <a:off x="3609976" y="1689101"/>
              <a:ext cx="654050" cy="833438"/>
            </a:xfrm>
            <a:custGeom>
              <a:avLst/>
              <a:gdLst>
                <a:gd name="T0" fmla="*/ 129 w 344"/>
                <a:gd name="T1" fmla="*/ 413 h 438"/>
                <a:gd name="T2" fmla="*/ 317 w 344"/>
                <a:gd name="T3" fmla="*/ 219 h 438"/>
                <a:gd name="T4" fmla="*/ 129 w 344"/>
                <a:gd name="T5" fmla="*/ 25 h 438"/>
                <a:gd name="T6" fmla="*/ 26 w 344"/>
                <a:gd name="T7" fmla="*/ 25 h 438"/>
                <a:gd name="T8" fmla="*/ 26 w 344"/>
                <a:gd name="T9" fmla="*/ 413 h 438"/>
                <a:gd name="T10" fmla="*/ 129 w 344"/>
                <a:gd name="T11" fmla="*/ 413 h 438"/>
                <a:gd name="T12" fmla="*/ 0 w 344"/>
                <a:gd name="T13" fmla="*/ 0 h 438"/>
                <a:gd name="T14" fmla="*/ 133 w 344"/>
                <a:gd name="T15" fmla="*/ 0 h 438"/>
                <a:gd name="T16" fmla="*/ 344 w 344"/>
                <a:gd name="T17" fmla="*/ 219 h 438"/>
                <a:gd name="T18" fmla="*/ 133 w 344"/>
                <a:gd name="T19" fmla="*/ 438 h 438"/>
                <a:gd name="T20" fmla="*/ 0 w 344"/>
                <a:gd name="T21" fmla="*/ 438 h 438"/>
                <a:gd name="T22" fmla="*/ 0 w 344"/>
                <a:gd name="T23"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4" h="438">
                  <a:moveTo>
                    <a:pt x="129" y="413"/>
                  </a:moveTo>
                  <a:cubicBezTo>
                    <a:pt x="241" y="413"/>
                    <a:pt x="317" y="345"/>
                    <a:pt x="317" y="219"/>
                  </a:cubicBezTo>
                  <a:cubicBezTo>
                    <a:pt x="317" y="94"/>
                    <a:pt x="241" y="25"/>
                    <a:pt x="129" y="25"/>
                  </a:cubicBezTo>
                  <a:cubicBezTo>
                    <a:pt x="26" y="25"/>
                    <a:pt x="26" y="25"/>
                    <a:pt x="26" y="25"/>
                  </a:cubicBezTo>
                  <a:cubicBezTo>
                    <a:pt x="26" y="413"/>
                    <a:pt x="26" y="413"/>
                    <a:pt x="26" y="413"/>
                  </a:cubicBezTo>
                  <a:lnTo>
                    <a:pt x="129" y="413"/>
                  </a:lnTo>
                  <a:close/>
                  <a:moveTo>
                    <a:pt x="0" y="0"/>
                  </a:moveTo>
                  <a:cubicBezTo>
                    <a:pt x="133" y="0"/>
                    <a:pt x="133" y="0"/>
                    <a:pt x="133" y="0"/>
                  </a:cubicBezTo>
                  <a:cubicBezTo>
                    <a:pt x="259" y="0"/>
                    <a:pt x="344" y="80"/>
                    <a:pt x="344" y="219"/>
                  </a:cubicBezTo>
                  <a:cubicBezTo>
                    <a:pt x="344" y="359"/>
                    <a:pt x="259" y="438"/>
                    <a:pt x="133"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4" name="Freeform 43">
              <a:extLst>
                <a:ext uri="{FF2B5EF4-FFF2-40B4-BE49-F238E27FC236}">
                  <a16:creationId xmlns:a16="http://schemas.microsoft.com/office/drawing/2014/main" id="{E0EEE209-5D15-4E41-BBED-CDEB11240C8F}"/>
                </a:ext>
              </a:extLst>
            </p:cNvPr>
            <p:cNvSpPr>
              <a:spLocks/>
            </p:cNvSpPr>
            <p:nvPr/>
          </p:nvSpPr>
          <p:spPr bwMode="auto">
            <a:xfrm>
              <a:off x="4398963" y="1924051"/>
              <a:ext cx="263525" cy="598488"/>
            </a:xfrm>
            <a:custGeom>
              <a:avLst/>
              <a:gdLst>
                <a:gd name="T0" fmla="*/ 0 w 139"/>
                <a:gd name="T1" fmla="*/ 2 h 315"/>
                <a:gd name="T2" fmla="*/ 25 w 139"/>
                <a:gd name="T3" fmla="*/ 2 h 315"/>
                <a:gd name="T4" fmla="*/ 25 w 139"/>
                <a:gd name="T5" fmla="*/ 62 h 315"/>
                <a:gd name="T6" fmla="*/ 23 w 139"/>
                <a:gd name="T7" fmla="*/ 87 h 315"/>
                <a:gd name="T8" fmla="*/ 24 w 139"/>
                <a:gd name="T9" fmla="*/ 87 h 315"/>
                <a:gd name="T10" fmla="*/ 121 w 139"/>
                <a:gd name="T11" fmla="*/ 0 h 315"/>
                <a:gd name="T12" fmla="*/ 139 w 139"/>
                <a:gd name="T13" fmla="*/ 2 h 315"/>
                <a:gd name="T14" fmla="*/ 139 w 139"/>
                <a:gd name="T15" fmla="*/ 28 h 315"/>
                <a:gd name="T16" fmla="*/ 125 w 139"/>
                <a:gd name="T17" fmla="*/ 27 h 315"/>
                <a:gd name="T18" fmla="*/ 34 w 139"/>
                <a:gd name="T19" fmla="*/ 114 h 315"/>
                <a:gd name="T20" fmla="*/ 25 w 139"/>
                <a:gd name="T21" fmla="*/ 180 h 315"/>
                <a:gd name="T22" fmla="*/ 25 w 139"/>
                <a:gd name="T23" fmla="*/ 315 h 315"/>
                <a:gd name="T24" fmla="*/ 0 w 139"/>
                <a:gd name="T25" fmla="*/ 315 h 315"/>
                <a:gd name="T26" fmla="*/ 0 w 139"/>
                <a:gd name="T27" fmla="*/ 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315">
                  <a:moveTo>
                    <a:pt x="0" y="2"/>
                  </a:moveTo>
                  <a:cubicBezTo>
                    <a:pt x="25" y="2"/>
                    <a:pt x="25" y="2"/>
                    <a:pt x="25" y="2"/>
                  </a:cubicBezTo>
                  <a:cubicBezTo>
                    <a:pt x="25" y="62"/>
                    <a:pt x="25" y="62"/>
                    <a:pt x="25" y="62"/>
                  </a:cubicBezTo>
                  <a:cubicBezTo>
                    <a:pt x="25" y="76"/>
                    <a:pt x="23" y="87"/>
                    <a:pt x="23" y="87"/>
                  </a:cubicBezTo>
                  <a:cubicBezTo>
                    <a:pt x="24" y="87"/>
                    <a:pt x="24" y="87"/>
                    <a:pt x="24" y="87"/>
                  </a:cubicBezTo>
                  <a:cubicBezTo>
                    <a:pt x="39" y="39"/>
                    <a:pt x="73" y="0"/>
                    <a:pt x="121" y="0"/>
                  </a:cubicBezTo>
                  <a:cubicBezTo>
                    <a:pt x="130" y="0"/>
                    <a:pt x="139" y="2"/>
                    <a:pt x="139" y="2"/>
                  </a:cubicBezTo>
                  <a:cubicBezTo>
                    <a:pt x="139" y="28"/>
                    <a:pt x="139" y="28"/>
                    <a:pt x="139" y="28"/>
                  </a:cubicBezTo>
                  <a:cubicBezTo>
                    <a:pt x="139" y="28"/>
                    <a:pt x="131" y="27"/>
                    <a:pt x="125" y="27"/>
                  </a:cubicBezTo>
                  <a:cubicBezTo>
                    <a:pt x="77" y="27"/>
                    <a:pt x="48" y="68"/>
                    <a:pt x="34" y="114"/>
                  </a:cubicBezTo>
                  <a:cubicBezTo>
                    <a:pt x="28" y="136"/>
                    <a:pt x="25" y="159"/>
                    <a:pt x="25" y="180"/>
                  </a:cubicBezTo>
                  <a:cubicBezTo>
                    <a:pt x="25" y="315"/>
                    <a:pt x="25" y="315"/>
                    <a:pt x="25" y="315"/>
                  </a:cubicBezTo>
                  <a:cubicBezTo>
                    <a:pt x="0" y="315"/>
                    <a:pt x="0" y="315"/>
                    <a:pt x="0" y="315"/>
                  </a:cubicBez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5" name="Freeform 44">
              <a:extLst>
                <a:ext uri="{FF2B5EF4-FFF2-40B4-BE49-F238E27FC236}">
                  <a16:creationId xmlns:a16="http://schemas.microsoft.com/office/drawing/2014/main" id="{5FDFCE35-BE30-5A48-A449-F6BC896187DA}"/>
                </a:ext>
              </a:extLst>
            </p:cNvPr>
            <p:cNvSpPr>
              <a:spLocks noEditPoints="1"/>
            </p:cNvSpPr>
            <p:nvPr/>
          </p:nvSpPr>
          <p:spPr bwMode="auto">
            <a:xfrm>
              <a:off x="4735513" y="1689101"/>
              <a:ext cx="57150" cy="833438"/>
            </a:xfrm>
            <a:custGeom>
              <a:avLst/>
              <a:gdLst>
                <a:gd name="T0" fmla="*/ 2 w 36"/>
                <a:gd name="T1" fmla="*/ 525 h 525"/>
                <a:gd name="T2" fmla="*/ 32 w 36"/>
                <a:gd name="T3" fmla="*/ 525 h 525"/>
                <a:gd name="T4" fmla="*/ 32 w 36"/>
                <a:gd name="T5" fmla="*/ 150 h 525"/>
                <a:gd name="T6" fmla="*/ 2 w 36"/>
                <a:gd name="T7" fmla="*/ 150 h 525"/>
                <a:gd name="T8" fmla="*/ 2 w 36"/>
                <a:gd name="T9" fmla="*/ 525 h 525"/>
                <a:gd name="T10" fmla="*/ 0 w 36"/>
                <a:gd name="T11" fmla="*/ 55 h 525"/>
                <a:gd name="T12" fmla="*/ 36 w 36"/>
                <a:gd name="T13" fmla="*/ 55 h 525"/>
                <a:gd name="T14" fmla="*/ 36 w 36"/>
                <a:gd name="T15" fmla="*/ 0 h 525"/>
                <a:gd name="T16" fmla="*/ 0 w 36"/>
                <a:gd name="T17" fmla="*/ 0 h 525"/>
                <a:gd name="T18" fmla="*/ 0 w 36"/>
                <a:gd name="T19" fmla="*/ 55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25">
                  <a:moveTo>
                    <a:pt x="2" y="525"/>
                  </a:moveTo>
                  <a:lnTo>
                    <a:pt x="32" y="525"/>
                  </a:lnTo>
                  <a:lnTo>
                    <a:pt x="32" y="150"/>
                  </a:lnTo>
                  <a:lnTo>
                    <a:pt x="2" y="150"/>
                  </a:lnTo>
                  <a:lnTo>
                    <a:pt x="2" y="525"/>
                  </a:lnTo>
                  <a:close/>
                  <a:moveTo>
                    <a:pt x="0" y="55"/>
                  </a:moveTo>
                  <a:lnTo>
                    <a:pt x="36" y="55"/>
                  </a:lnTo>
                  <a:lnTo>
                    <a:pt x="36" y="0"/>
                  </a:lnTo>
                  <a:lnTo>
                    <a:pt x="0" y="0"/>
                  </a:lnTo>
                  <a:lnTo>
                    <a:pt x="0" y="55"/>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6" name="Freeform 45">
              <a:extLst>
                <a:ext uri="{FF2B5EF4-FFF2-40B4-BE49-F238E27FC236}">
                  <a16:creationId xmlns:a16="http://schemas.microsoft.com/office/drawing/2014/main" id="{A601DC36-C1A5-7A4E-BCBF-00813474D077}"/>
                </a:ext>
              </a:extLst>
            </p:cNvPr>
            <p:cNvSpPr>
              <a:spLocks/>
            </p:cNvSpPr>
            <p:nvPr/>
          </p:nvSpPr>
          <p:spPr bwMode="auto">
            <a:xfrm>
              <a:off x="4860926" y="1927226"/>
              <a:ext cx="496888" cy="595313"/>
            </a:xfrm>
            <a:custGeom>
              <a:avLst/>
              <a:gdLst>
                <a:gd name="T0" fmla="*/ 0 w 262"/>
                <a:gd name="T1" fmla="*/ 0 h 313"/>
                <a:gd name="T2" fmla="*/ 28 w 262"/>
                <a:gd name="T3" fmla="*/ 0 h 313"/>
                <a:gd name="T4" fmla="*/ 121 w 262"/>
                <a:gd name="T5" fmla="*/ 246 h 313"/>
                <a:gd name="T6" fmla="*/ 131 w 262"/>
                <a:gd name="T7" fmla="*/ 279 h 313"/>
                <a:gd name="T8" fmla="*/ 132 w 262"/>
                <a:gd name="T9" fmla="*/ 279 h 313"/>
                <a:gd name="T10" fmla="*/ 143 w 262"/>
                <a:gd name="T11" fmla="*/ 246 h 313"/>
                <a:gd name="T12" fmla="*/ 236 w 262"/>
                <a:gd name="T13" fmla="*/ 0 h 313"/>
                <a:gd name="T14" fmla="*/ 262 w 262"/>
                <a:gd name="T15" fmla="*/ 0 h 313"/>
                <a:gd name="T16" fmla="*/ 144 w 262"/>
                <a:gd name="T17" fmla="*/ 313 h 313"/>
                <a:gd name="T18" fmla="*/ 120 w 262"/>
                <a:gd name="T19" fmla="*/ 313 h 313"/>
                <a:gd name="T20" fmla="*/ 0 w 262"/>
                <a:gd name="T21"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 h="313">
                  <a:moveTo>
                    <a:pt x="0" y="0"/>
                  </a:moveTo>
                  <a:cubicBezTo>
                    <a:pt x="28" y="0"/>
                    <a:pt x="28" y="0"/>
                    <a:pt x="28" y="0"/>
                  </a:cubicBezTo>
                  <a:cubicBezTo>
                    <a:pt x="121" y="246"/>
                    <a:pt x="121" y="246"/>
                    <a:pt x="121" y="246"/>
                  </a:cubicBezTo>
                  <a:cubicBezTo>
                    <a:pt x="126" y="260"/>
                    <a:pt x="131" y="279"/>
                    <a:pt x="131" y="279"/>
                  </a:cubicBezTo>
                  <a:cubicBezTo>
                    <a:pt x="132" y="279"/>
                    <a:pt x="132" y="279"/>
                    <a:pt x="132" y="279"/>
                  </a:cubicBezTo>
                  <a:cubicBezTo>
                    <a:pt x="132" y="279"/>
                    <a:pt x="137" y="260"/>
                    <a:pt x="143" y="246"/>
                  </a:cubicBezTo>
                  <a:cubicBezTo>
                    <a:pt x="236" y="0"/>
                    <a:pt x="236" y="0"/>
                    <a:pt x="236" y="0"/>
                  </a:cubicBezTo>
                  <a:cubicBezTo>
                    <a:pt x="262" y="0"/>
                    <a:pt x="262" y="0"/>
                    <a:pt x="262" y="0"/>
                  </a:cubicBezTo>
                  <a:cubicBezTo>
                    <a:pt x="144" y="313"/>
                    <a:pt x="144" y="313"/>
                    <a:pt x="144" y="313"/>
                  </a:cubicBezTo>
                  <a:cubicBezTo>
                    <a:pt x="120" y="313"/>
                    <a:pt x="120" y="313"/>
                    <a:pt x="120" y="313"/>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7" name="Freeform 46">
              <a:extLst>
                <a:ext uri="{FF2B5EF4-FFF2-40B4-BE49-F238E27FC236}">
                  <a16:creationId xmlns:a16="http://schemas.microsoft.com/office/drawing/2014/main" id="{D54C74C1-1A4D-0746-9D8A-0C56B6D16872}"/>
                </a:ext>
              </a:extLst>
            </p:cNvPr>
            <p:cNvSpPr>
              <a:spLocks noEditPoints="1"/>
            </p:cNvSpPr>
            <p:nvPr/>
          </p:nvSpPr>
          <p:spPr bwMode="auto">
            <a:xfrm>
              <a:off x="5375276" y="1914526"/>
              <a:ext cx="512763" cy="623888"/>
            </a:xfrm>
            <a:custGeom>
              <a:avLst/>
              <a:gdLst>
                <a:gd name="T0" fmla="*/ 243 w 270"/>
                <a:gd name="T1" fmla="*/ 135 h 328"/>
                <a:gd name="T2" fmla="*/ 146 w 270"/>
                <a:gd name="T3" fmla="*/ 24 h 328"/>
                <a:gd name="T4" fmla="*/ 28 w 270"/>
                <a:gd name="T5" fmla="*/ 135 h 328"/>
                <a:gd name="T6" fmla="*/ 243 w 270"/>
                <a:gd name="T7" fmla="*/ 135 h 328"/>
                <a:gd name="T8" fmla="*/ 147 w 270"/>
                <a:gd name="T9" fmla="*/ 0 h 328"/>
                <a:gd name="T10" fmla="*/ 270 w 270"/>
                <a:gd name="T11" fmla="*/ 142 h 328"/>
                <a:gd name="T12" fmla="*/ 269 w 270"/>
                <a:gd name="T13" fmla="*/ 159 h 328"/>
                <a:gd name="T14" fmla="*/ 26 w 270"/>
                <a:gd name="T15" fmla="*/ 159 h 328"/>
                <a:gd name="T16" fmla="*/ 156 w 270"/>
                <a:gd name="T17" fmla="*/ 302 h 328"/>
                <a:gd name="T18" fmla="*/ 249 w 270"/>
                <a:gd name="T19" fmla="*/ 263 h 328"/>
                <a:gd name="T20" fmla="*/ 263 w 270"/>
                <a:gd name="T21" fmla="*/ 284 h 328"/>
                <a:gd name="T22" fmla="*/ 156 w 270"/>
                <a:gd name="T23" fmla="*/ 328 h 328"/>
                <a:gd name="T24" fmla="*/ 0 w 270"/>
                <a:gd name="T25" fmla="*/ 164 h 328"/>
                <a:gd name="T26" fmla="*/ 147 w 270"/>
                <a:gd name="T27"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0" h="328">
                  <a:moveTo>
                    <a:pt x="243" y="135"/>
                  </a:moveTo>
                  <a:cubicBezTo>
                    <a:pt x="240" y="59"/>
                    <a:pt x="196" y="24"/>
                    <a:pt x="146" y="24"/>
                  </a:cubicBezTo>
                  <a:cubicBezTo>
                    <a:pt x="90" y="24"/>
                    <a:pt x="39" y="62"/>
                    <a:pt x="28" y="135"/>
                  </a:cubicBezTo>
                  <a:lnTo>
                    <a:pt x="243" y="135"/>
                  </a:lnTo>
                  <a:close/>
                  <a:moveTo>
                    <a:pt x="147" y="0"/>
                  </a:moveTo>
                  <a:cubicBezTo>
                    <a:pt x="229" y="0"/>
                    <a:pt x="270" y="67"/>
                    <a:pt x="270" y="142"/>
                  </a:cubicBezTo>
                  <a:cubicBezTo>
                    <a:pt x="270" y="149"/>
                    <a:pt x="269" y="159"/>
                    <a:pt x="269" y="159"/>
                  </a:cubicBezTo>
                  <a:cubicBezTo>
                    <a:pt x="26" y="159"/>
                    <a:pt x="26" y="159"/>
                    <a:pt x="26" y="159"/>
                  </a:cubicBezTo>
                  <a:cubicBezTo>
                    <a:pt x="26" y="250"/>
                    <a:pt x="85" y="302"/>
                    <a:pt x="156" y="302"/>
                  </a:cubicBezTo>
                  <a:cubicBezTo>
                    <a:pt x="214" y="302"/>
                    <a:pt x="249" y="263"/>
                    <a:pt x="249" y="263"/>
                  </a:cubicBezTo>
                  <a:cubicBezTo>
                    <a:pt x="263" y="284"/>
                    <a:pt x="263" y="284"/>
                    <a:pt x="263" y="284"/>
                  </a:cubicBezTo>
                  <a:cubicBezTo>
                    <a:pt x="263" y="284"/>
                    <a:pt x="221" y="328"/>
                    <a:pt x="156" y="328"/>
                  </a:cubicBezTo>
                  <a:cubicBezTo>
                    <a:pt x="70" y="328"/>
                    <a:pt x="0" y="264"/>
                    <a:pt x="0" y="164"/>
                  </a:cubicBezTo>
                  <a:cubicBezTo>
                    <a:pt x="0" y="59"/>
                    <a:pt x="69" y="0"/>
                    <a:pt x="147"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8" name="Freeform 47">
              <a:extLst>
                <a:ext uri="{FF2B5EF4-FFF2-40B4-BE49-F238E27FC236}">
                  <a16:creationId xmlns:a16="http://schemas.microsoft.com/office/drawing/2014/main" id="{30FA9AF8-C3B9-E741-BC05-3856E817A1AC}"/>
                </a:ext>
              </a:extLst>
            </p:cNvPr>
            <p:cNvSpPr>
              <a:spLocks/>
            </p:cNvSpPr>
            <p:nvPr/>
          </p:nvSpPr>
          <p:spPr bwMode="auto">
            <a:xfrm>
              <a:off x="6003926" y="1914526"/>
              <a:ext cx="479425" cy="608013"/>
            </a:xfrm>
            <a:custGeom>
              <a:avLst/>
              <a:gdLst>
                <a:gd name="T0" fmla="*/ 0 w 252"/>
                <a:gd name="T1" fmla="*/ 7 h 320"/>
                <a:gd name="T2" fmla="*/ 25 w 252"/>
                <a:gd name="T3" fmla="*/ 7 h 320"/>
                <a:gd name="T4" fmla="*/ 25 w 252"/>
                <a:gd name="T5" fmla="*/ 62 h 320"/>
                <a:gd name="T6" fmla="*/ 23 w 252"/>
                <a:gd name="T7" fmla="*/ 88 h 320"/>
                <a:gd name="T8" fmla="*/ 24 w 252"/>
                <a:gd name="T9" fmla="*/ 88 h 320"/>
                <a:gd name="T10" fmla="*/ 152 w 252"/>
                <a:gd name="T11" fmla="*/ 0 h 320"/>
                <a:gd name="T12" fmla="*/ 252 w 252"/>
                <a:gd name="T13" fmla="*/ 122 h 320"/>
                <a:gd name="T14" fmla="*/ 252 w 252"/>
                <a:gd name="T15" fmla="*/ 320 h 320"/>
                <a:gd name="T16" fmla="*/ 227 w 252"/>
                <a:gd name="T17" fmla="*/ 320 h 320"/>
                <a:gd name="T18" fmla="*/ 227 w 252"/>
                <a:gd name="T19" fmla="*/ 131 h 320"/>
                <a:gd name="T20" fmla="*/ 152 w 252"/>
                <a:gd name="T21" fmla="*/ 26 h 320"/>
                <a:gd name="T22" fmla="*/ 30 w 252"/>
                <a:gd name="T23" fmla="*/ 125 h 320"/>
                <a:gd name="T24" fmla="*/ 25 w 252"/>
                <a:gd name="T25" fmla="*/ 168 h 320"/>
                <a:gd name="T26" fmla="*/ 25 w 252"/>
                <a:gd name="T27" fmla="*/ 320 h 320"/>
                <a:gd name="T28" fmla="*/ 0 w 252"/>
                <a:gd name="T29" fmla="*/ 320 h 320"/>
                <a:gd name="T30" fmla="*/ 0 w 252"/>
                <a:gd name="T31" fmla="*/ 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320">
                  <a:moveTo>
                    <a:pt x="0" y="7"/>
                  </a:moveTo>
                  <a:cubicBezTo>
                    <a:pt x="25" y="7"/>
                    <a:pt x="25" y="7"/>
                    <a:pt x="25" y="7"/>
                  </a:cubicBezTo>
                  <a:cubicBezTo>
                    <a:pt x="25" y="62"/>
                    <a:pt x="25" y="62"/>
                    <a:pt x="25" y="62"/>
                  </a:cubicBezTo>
                  <a:cubicBezTo>
                    <a:pt x="25" y="77"/>
                    <a:pt x="23" y="88"/>
                    <a:pt x="23" y="88"/>
                  </a:cubicBezTo>
                  <a:cubicBezTo>
                    <a:pt x="24" y="88"/>
                    <a:pt x="24" y="88"/>
                    <a:pt x="24" y="88"/>
                  </a:cubicBezTo>
                  <a:cubicBezTo>
                    <a:pt x="34" y="59"/>
                    <a:pt x="77" y="0"/>
                    <a:pt x="152" y="0"/>
                  </a:cubicBezTo>
                  <a:cubicBezTo>
                    <a:pt x="231" y="0"/>
                    <a:pt x="252" y="48"/>
                    <a:pt x="252" y="122"/>
                  </a:cubicBezTo>
                  <a:cubicBezTo>
                    <a:pt x="252" y="320"/>
                    <a:pt x="252" y="320"/>
                    <a:pt x="252" y="320"/>
                  </a:cubicBezTo>
                  <a:cubicBezTo>
                    <a:pt x="227" y="320"/>
                    <a:pt x="227" y="320"/>
                    <a:pt x="227" y="320"/>
                  </a:cubicBezTo>
                  <a:cubicBezTo>
                    <a:pt x="227" y="131"/>
                    <a:pt x="227" y="131"/>
                    <a:pt x="227" y="131"/>
                  </a:cubicBezTo>
                  <a:cubicBezTo>
                    <a:pt x="227" y="77"/>
                    <a:pt x="220" y="26"/>
                    <a:pt x="152" y="26"/>
                  </a:cubicBezTo>
                  <a:cubicBezTo>
                    <a:pt x="95" y="26"/>
                    <a:pt x="45" y="67"/>
                    <a:pt x="30" y="125"/>
                  </a:cubicBezTo>
                  <a:cubicBezTo>
                    <a:pt x="26" y="138"/>
                    <a:pt x="25" y="153"/>
                    <a:pt x="25" y="168"/>
                  </a:cubicBezTo>
                  <a:cubicBezTo>
                    <a:pt x="25" y="320"/>
                    <a:pt x="25" y="320"/>
                    <a:pt x="25" y="320"/>
                  </a:cubicBezTo>
                  <a:cubicBezTo>
                    <a:pt x="0" y="320"/>
                    <a:pt x="0" y="320"/>
                    <a:pt x="0" y="320"/>
                  </a:cubicBez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49" name="Freeform 48">
              <a:extLst>
                <a:ext uri="{FF2B5EF4-FFF2-40B4-BE49-F238E27FC236}">
                  <a16:creationId xmlns:a16="http://schemas.microsoft.com/office/drawing/2014/main" id="{04DD23BB-B2D3-A944-81B8-A2956E263636}"/>
                </a:ext>
              </a:extLst>
            </p:cNvPr>
            <p:cNvSpPr>
              <a:spLocks noEditPoints="1"/>
            </p:cNvSpPr>
            <p:nvPr/>
          </p:nvSpPr>
          <p:spPr bwMode="auto">
            <a:xfrm>
              <a:off x="6950076" y="1689101"/>
              <a:ext cx="501650" cy="849313"/>
            </a:xfrm>
            <a:custGeom>
              <a:avLst/>
              <a:gdLst>
                <a:gd name="T0" fmla="*/ 130 w 264"/>
                <a:gd name="T1" fmla="*/ 420 h 446"/>
                <a:gd name="T2" fmla="*/ 237 w 264"/>
                <a:gd name="T3" fmla="*/ 282 h 446"/>
                <a:gd name="T4" fmla="*/ 132 w 264"/>
                <a:gd name="T5" fmla="*/ 144 h 446"/>
                <a:gd name="T6" fmla="*/ 24 w 264"/>
                <a:gd name="T7" fmla="*/ 282 h 446"/>
                <a:gd name="T8" fmla="*/ 130 w 264"/>
                <a:gd name="T9" fmla="*/ 420 h 446"/>
                <a:gd name="T10" fmla="*/ 0 w 264"/>
                <a:gd name="T11" fmla="*/ 0 h 446"/>
                <a:gd name="T12" fmla="*/ 25 w 264"/>
                <a:gd name="T13" fmla="*/ 0 h 446"/>
                <a:gd name="T14" fmla="*/ 25 w 264"/>
                <a:gd name="T15" fmla="*/ 163 h 446"/>
                <a:gd name="T16" fmla="*/ 23 w 264"/>
                <a:gd name="T17" fmla="*/ 189 h 446"/>
                <a:gd name="T18" fmla="*/ 24 w 264"/>
                <a:gd name="T19" fmla="*/ 189 h 446"/>
                <a:gd name="T20" fmla="*/ 133 w 264"/>
                <a:gd name="T21" fmla="*/ 118 h 446"/>
                <a:gd name="T22" fmla="*/ 264 w 264"/>
                <a:gd name="T23" fmla="*/ 282 h 446"/>
                <a:gd name="T24" fmla="*/ 129 w 264"/>
                <a:gd name="T25" fmla="*/ 446 h 446"/>
                <a:gd name="T26" fmla="*/ 24 w 264"/>
                <a:gd name="T27" fmla="*/ 375 h 446"/>
                <a:gd name="T28" fmla="*/ 23 w 264"/>
                <a:gd name="T29" fmla="*/ 375 h 446"/>
                <a:gd name="T30" fmla="*/ 25 w 264"/>
                <a:gd name="T31" fmla="*/ 402 h 446"/>
                <a:gd name="T32" fmla="*/ 25 w 264"/>
                <a:gd name="T33" fmla="*/ 438 h 446"/>
                <a:gd name="T34" fmla="*/ 0 w 264"/>
                <a:gd name="T35" fmla="*/ 438 h 446"/>
                <a:gd name="T36" fmla="*/ 0 w 264"/>
                <a:gd name="T3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446">
                  <a:moveTo>
                    <a:pt x="130" y="420"/>
                  </a:moveTo>
                  <a:cubicBezTo>
                    <a:pt x="189" y="420"/>
                    <a:pt x="237" y="369"/>
                    <a:pt x="237" y="282"/>
                  </a:cubicBezTo>
                  <a:cubicBezTo>
                    <a:pt x="237" y="197"/>
                    <a:pt x="194" y="144"/>
                    <a:pt x="132" y="144"/>
                  </a:cubicBezTo>
                  <a:cubicBezTo>
                    <a:pt x="77" y="144"/>
                    <a:pt x="24" y="184"/>
                    <a:pt x="24" y="282"/>
                  </a:cubicBezTo>
                  <a:cubicBezTo>
                    <a:pt x="24" y="352"/>
                    <a:pt x="59" y="420"/>
                    <a:pt x="130" y="420"/>
                  </a:cubicBezTo>
                  <a:moveTo>
                    <a:pt x="0" y="0"/>
                  </a:moveTo>
                  <a:cubicBezTo>
                    <a:pt x="25" y="0"/>
                    <a:pt x="25" y="0"/>
                    <a:pt x="25" y="0"/>
                  </a:cubicBezTo>
                  <a:cubicBezTo>
                    <a:pt x="25" y="163"/>
                    <a:pt x="25" y="163"/>
                    <a:pt x="25" y="163"/>
                  </a:cubicBezTo>
                  <a:cubicBezTo>
                    <a:pt x="25" y="177"/>
                    <a:pt x="23" y="189"/>
                    <a:pt x="23" y="189"/>
                  </a:cubicBezTo>
                  <a:cubicBezTo>
                    <a:pt x="24" y="189"/>
                    <a:pt x="24" y="189"/>
                    <a:pt x="24" y="189"/>
                  </a:cubicBezTo>
                  <a:cubicBezTo>
                    <a:pt x="24" y="189"/>
                    <a:pt x="50" y="118"/>
                    <a:pt x="133" y="118"/>
                  </a:cubicBezTo>
                  <a:cubicBezTo>
                    <a:pt x="215" y="118"/>
                    <a:pt x="264" y="185"/>
                    <a:pt x="264" y="282"/>
                  </a:cubicBezTo>
                  <a:cubicBezTo>
                    <a:pt x="264" y="381"/>
                    <a:pt x="208" y="446"/>
                    <a:pt x="129" y="446"/>
                  </a:cubicBezTo>
                  <a:cubicBezTo>
                    <a:pt x="52" y="446"/>
                    <a:pt x="24" y="375"/>
                    <a:pt x="24" y="375"/>
                  </a:cubicBezTo>
                  <a:cubicBezTo>
                    <a:pt x="23" y="375"/>
                    <a:pt x="23" y="375"/>
                    <a:pt x="23" y="375"/>
                  </a:cubicBezTo>
                  <a:cubicBezTo>
                    <a:pt x="23" y="375"/>
                    <a:pt x="25" y="386"/>
                    <a:pt x="25" y="402"/>
                  </a:cubicBezTo>
                  <a:cubicBezTo>
                    <a:pt x="25" y="438"/>
                    <a:pt x="25" y="438"/>
                    <a:pt x="25" y="438"/>
                  </a:cubicBezTo>
                  <a:cubicBezTo>
                    <a:pt x="0" y="438"/>
                    <a:pt x="0" y="438"/>
                    <a:pt x="0" y="438"/>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0" name="Freeform 49">
              <a:extLst>
                <a:ext uri="{FF2B5EF4-FFF2-40B4-BE49-F238E27FC236}">
                  <a16:creationId xmlns:a16="http://schemas.microsoft.com/office/drawing/2014/main" id="{87BB2AA8-3A1B-3644-8599-4B7092E5E8AC}"/>
                </a:ext>
              </a:extLst>
            </p:cNvPr>
            <p:cNvSpPr>
              <a:spLocks/>
            </p:cNvSpPr>
            <p:nvPr/>
          </p:nvSpPr>
          <p:spPr bwMode="auto">
            <a:xfrm>
              <a:off x="7459663" y="1927226"/>
              <a:ext cx="533400" cy="844550"/>
            </a:xfrm>
            <a:custGeom>
              <a:avLst/>
              <a:gdLst>
                <a:gd name="T0" fmla="*/ 11 w 281"/>
                <a:gd name="T1" fmla="*/ 404 h 444"/>
                <a:gd name="T2" fmla="*/ 49 w 281"/>
                <a:gd name="T3" fmla="*/ 419 h 444"/>
                <a:gd name="T4" fmla="*/ 108 w 281"/>
                <a:gd name="T5" fmla="*/ 363 h 444"/>
                <a:gd name="T6" fmla="*/ 130 w 281"/>
                <a:gd name="T7" fmla="*/ 311 h 444"/>
                <a:gd name="T8" fmla="*/ 5 w 281"/>
                <a:gd name="T9" fmla="*/ 0 h 444"/>
                <a:gd name="T10" fmla="*/ 32 w 281"/>
                <a:gd name="T11" fmla="*/ 0 h 444"/>
                <a:gd name="T12" fmla="*/ 132 w 281"/>
                <a:gd name="T13" fmla="*/ 250 h 444"/>
                <a:gd name="T14" fmla="*/ 143 w 281"/>
                <a:gd name="T15" fmla="*/ 279 h 444"/>
                <a:gd name="T16" fmla="*/ 144 w 281"/>
                <a:gd name="T17" fmla="*/ 279 h 444"/>
                <a:gd name="T18" fmla="*/ 154 w 281"/>
                <a:gd name="T19" fmla="*/ 250 h 444"/>
                <a:gd name="T20" fmla="*/ 254 w 281"/>
                <a:gd name="T21" fmla="*/ 0 h 444"/>
                <a:gd name="T22" fmla="*/ 281 w 281"/>
                <a:gd name="T23" fmla="*/ 0 h 444"/>
                <a:gd name="T24" fmla="*/ 126 w 281"/>
                <a:gd name="T25" fmla="*/ 386 h 444"/>
                <a:gd name="T26" fmla="*/ 49 w 281"/>
                <a:gd name="T27" fmla="*/ 444 h 444"/>
                <a:gd name="T28" fmla="*/ 0 w 281"/>
                <a:gd name="T29" fmla="*/ 427 h 444"/>
                <a:gd name="T30" fmla="*/ 11 w 281"/>
                <a:gd name="T31" fmla="*/ 40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1" h="444">
                  <a:moveTo>
                    <a:pt x="11" y="404"/>
                  </a:moveTo>
                  <a:cubicBezTo>
                    <a:pt x="11" y="404"/>
                    <a:pt x="28" y="419"/>
                    <a:pt x="49" y="419"/>
                  </a:cubicBezTo>
                  <a:cubicBezTo>
                    <a:pt x="78" y="419"/>
                    <a:pt x="96" y="392"/>
                    <a:pt x="108" y="363"/>
                  </a:cubicBezTo>
                  <a:cubicBezTo>
                    <a:pt x="130" y="311"/>
                    <a:pt x="130" y="311"/>
                    <a:pt x="130" y="311"/>
                  </a:cubicBezTo>
                  <a:cubicBezTo>
                    <a:pt x="5" y="0"/>
                    <a:pt x="5" y="0"/>
                    <a:pt x="5" y="0"/>
                  </a:cubicBezTo>
                  <a:cubicBezTo>
                    <a:pt x="32" y="0"/>
                    <a:pt x="32" y="0"/>
                    <a:pt x="32" y="0"/>
                  </a:cubicBezTo>
                  <a:cubicBezTo>
                    <a:pt x="132" y="250"/>
                    <a:pt x="132" y="250"/>
                    <a:pt x="132" y="250"/>
                  </a:cubicBezTo>
                  <a:cubicBezTo>
                    <a:pt x="138" y="265"/>
                    <a:pt x="143" y="279"/>
                    <a:pt x="143" y="279"/>
                  </a:cubicBezTo>
                  <a:cubicBezTo>
                    <a:pt x="144" y="279"/>
                    <a:pt x="144" y="279"/>
                    <a:pt x="144" y="279"/>
                  </a:cubicBezTo>
                  <a:cubicBezTo>
                    <a:pt x="144" y="279"/>
                    <a:pt x="148" y="265"/>
                    <a:pt x="154" y="250"/>
                  </a:cubicBezTo>
                  <a:cubicBezTo>
                    <a:pt x="254" y="0"/>
                    <a:pt x="254" y="0"/>
                    <a:pt x="254" y="0"/>
                  </a:cubicBezTo>
                  <a:cubicBezTo>
                    <a:pt x="281" y="0"/>
                    <a:pt x="281" y="0"/>
                    <a:pt x="281" y="0"/>
                  </a:cubicBezTo>
                  <a:cubicBezTo>
                    <a:pt x="126" y="386"/>
                    <a:pt x="126" y="386"/>
                    <a:pt x="126" y="386"/>
                  </a:cubicBezTo>
                  <a:cubicBezTo>
                    <a:pt x="112" y="419"/>
                    <a:pt x="87" y="444"/>
                    <a:pt x="49" y="444"/>
                  </a:cubicBezTo>
                  <a:cubicBezTo>
                    <a:pt x="20" y="444"/>
                    <a:pt x="0" y="427"/>
                    <a:pt x="0" y="427"/>
                  </a:cubicBezTo>
                  <a:lnTo>
                    <a:pt x="11" y="404"/>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1" name="Freeform 50">
              <a:extLst>
                <a:ext uri="{FF2B5EF4-FFF2-40B4-BE49-F238E27FC236}">
                  <a16:creationId xmlns:a16="http://schemas.microsoft.com/office/drawing/2014/main" id="{8948E296-0FF2-F642-B3D1-B4ADCA612AC7}"/>
                </a:ext>
              </a:extLst>
            </p:cNvPr>
            <p:cNvSpPr>
              <a:spLocks/>
            </p:cNvSpPr>
            <p:nvPr/>
          </p:nvSpPr>
          <p:spPr bwMode="auto">
            <a:xfrm>
              <a:off x="8301038" y="1906588"/>
              <a:ext cx="431800" cy="631825"/>
            </a:xfrm>
            <a:custGeom>
              <a:avLst/>
              <a:gdLst>
                <a:gd name="T0" fmla="*/ 29 w 227"/>
                <a:gd name="T1" fmla="*/ 242 h 332"/>
                <a:gd name="T2" fmla="*/ 117 w 227"/>
                <a:gd name="T3" fmla="*/ 279 h 332"/>
                <a:gd name="T4" fmla="*/ 167 w 227"/>
                <a:gd name="T5" fmla="*/ 240 h 332"/>
                <a:gd name="T6" fmla="*/ 10 w 227"/>
                <a:gd name="T7" fmla="*/ 90 h 332"/>
                <a:gd name="T8" fmla="*/ 121 w 227"/>
                <a:gd name="T9" fmla="*/ 0 h 332"/>
                <a:gd name="T10" fmla="*/ 220 w 227"/>
                <a:gd name="T11" fmla="*/ 35 h 332"/>
                <a:gd name="T12" fmla="*/ 196 w 227"/>
                <a:gd name="T13" fmla="*/ 81 h 332"/>
                <a:gd name="T14" fmla="*/ 120 w 227"/>
                <a:gd name="T15" fmla="*/ 53 h 332"/>
                <a:gd name="T16" fmla="*/ 70 w 227"/>
                <a:gd name="T17" fmla="*/ 91 h 332"/>
                <a:gd name="T18" fmla="*/ 227 w 227"/>
                <a:gd name="T19" fmla="*/ 240 h 332"/>
                <a:gd name="T20" fmla="*/ 117 w 227"/>
                <a:gd name="T21" fmla="*/ 332 h 332"/>
                <a:gd name="T22" fmla="*/ 0 w 227"/>
                <a:gd name="T23" fmla="*/ 285 h 332"/>
                <a:gd name="T24" fmla="*/ 29 w 227"/>
                <a:gd name="T25" fmla="*/ 24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7" h="332">
                  <a:moveTo>
                    <a:pt x="29" y="242"/>
                  </a:moveTo>
                  <a:cubicBezTo>
                    <a:pt x="29" y="242"/>
                    <a:pt x="63" y="279"/>
                    <a:pt x="117" y="279"/>
                  </a:cubicBezTo>
                  <a:cubicBezTo>
                    <a:pt x="142" y="279"/>
                    <a:pt x="167" y="265"/>
                    <a:pt x="167" y="240"/>
                  </a:cubicBezTo>
                  <a:cubicBezTo>
                    <a:pt x="167" y="181"/>
                    <a:pt x="10" y="193"/>
                    <a:pt x="10" y="90"/>
                  </a:cubicBezTo>
                  <a:cubicBezTo>
                    <a:pt x="10" y="33"/>
                    <a:pt x="60" y="0"/>
                    <a:pt x="121" y="0"/>
                  </a:cubicBezTo>
                  <a:cubicBezTo>
                    <a:pt x="188" y="0"/>
                    <a:pt x="220" y="35"/>
                    <a:pt x="220" y="35"/>
                  </a:cubicBezTo>
                  <a:cubicBezTo>
                    <a:pt x="196" y="81"/>
                    <a:pt x="196" y="81"/>
                    <a:pt x="196" y="81"/>
                  </a:cubicBezTo>
                  <a:cubicBezTo>
                    <a:pt x="196" y="81"/>
                    <a:pt x="169" y="53"/>
                    <a:pt x="120" y="53"/>
                  </a:cubicBezTo>
                  <a:cubicBezTo>
                    <a:pt x="95" y="53"/>
                    <a:pt x="70" y="64"/>
                    <a:pt x="70" y="91"/>
                  </a:cubicBezTo>
                  <a:cubicBezTo>
                    <a:pt x="70" y="148"/>
                    <a:pt x="227" y="136"/>
                    <a:pt x="227" y="240"/>
                  </a:cubicBezTo>
                  <a:cubicBezTo>
                    <a:pt x="227" y="292"/>
                    <a:pt x="184" y="332"/>
                    <a:pt x="117" y="332"/>
                  </a:cubicBezTo>
                  <a:cubicBezTo>
                    <a:pt x="42" y="332"/>
                    <a:pt x="0" y="285"/>
                    <a:pt x="0" y="285"/>
                  </a:cubicBezTo>
                  <a:lnTo>
                    <a:pt x="29" y="242"/>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2" name="Freeform 51">
              <a:extLst>
                <a:ext uri="{FF2B5EF4-FFF2-40B4-BE49-F238E27FC236}">
                  <a16:creationId xmlns:a16="http://schemas.microsoft.com/office/drawing/2014/main" id="{7857EA7D-91C5-B24F-8F50-251B29756864}"/>
                </a:ext>
              </a:extLst>
            </p:cNvPr>
            <p:cNvSpPr>
              <a:spLocks/>
            </p:cNvSpPr>
            <p:nvPr/>
          </p:nvSpPr>
          <p:spPr bwMode="auto">
            <a:xfrm>
              <a:off x="8774113"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3" name="Freeform 52">
              <a:extLst>
                <a:ext uri="{FF2B5EF4-FFF2-40B4-BE49-F238E27FC236}">
                  <a16:creationId xmlns:a16="http://schemas.microsoft.com/office/drawing/2014/main" id="{EA56B0C7-278A-A549-84B8-864480E99402}"/>
                </a:ext>
              </a:extLst>
            </p:cNvPr>
            <p:cNvSpPr>
              <a:spLocks noEditPoints="1"/>
            </p:cNvSpPr>
            <p:nvPr/>
          </p:nvSpPr>
          <p:spPr bwMode="auto">
            <a:xfrm>
              <a:off x="9388476" y="1682751"/>
              <a:ext cx="114300" cy="839788"/>
            </a:xfrm>
            <a:custGeom>
              <a:avLst/>
              <a:gdLst>
                <a:gd name="T0" fmla="*/ 1 w 72"/>
                <a:gd name="T1" fmla="*/ 150 h 529"/>
                <a:gd name="T2" fmla="*/ 72 w 72"/>
                <a:gd name="T3" fmla="*/ 150 h 529"/>
                <a:gd name="T4" fmla="*/ 72 w 72"/>
                <a:gd name="T5" fmla="*/ 529 h 529"/>
                <a:gd name="T6" fmla="*/ 1 w 72"/>
                <a:gd name="T7" fmla="*/ 529 h 529"/>
                <a:gd name="T8" fmla="*/ 1 w 72"/>
                <a:gd name="T9" fmla="*/ 150 h 529"/>
                <a:gd name="T10" fmla="*/ 0 w 72"/>
                <a:gd name="T11" fmla="*/ 0 h 529"/>
                <a:gd name="T12" fmla="*/ 72 w 72"/>
                <a:gd name="T13" fmla="*/ 0 h 529"/>
                <a:gd name="T14" fmla="*/ 72 w 72"/>
                <a:gd name="T15" fmla="*/ 74 h 529"/>
                <a:gd name="T16" fmla="*/ 0 w 72"/>
                <a:gd name="T17" fmla="*/ 74 h 529"/>
                <a:gd name="T18" fmla="*/ 0 w 72"/>
                <a:gd name="T19"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529">
                  <a:moveTo>
                    <a:pt x="1" y="150"/>
                  </a:moveTo>
                  <a:lnTo>
                    <a:pt x="72" y="150"/>
                  </a:lnTo>
                  <a:lnTo>
                    <a:pt x="72" y="529"/>
                  </a:lnTo>
                  <a:lnTo>
                    <a:pt x="1" y="529"/>
                  </a:lnTo>
                  <a:lnTo>
                    <a:pt x="1" y="150"/>
                  </a:lnTo>
                  <a:close/>
                  <a:moveTo>
                    <a:pt x="0" y="0"/>
                  </a:moveTo>
                  <a:lnTo>
                    <a:pt x="72" y="0"/>
                  </a:lnTo>
                  <a:lnTo>
                    <a:pt x="72" y="74"/>
                  </a:lnTo>
                  <a:lnTo>
                    <a:pt x="0" y="7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4" name="Freeform 53">
              <a:extLst>
                <a:ext uri="{FF2B5EF4-FFF2-40B4-BE49-F238E27FC236}">
                  <a16:creationId xmlns:a16="http://schemas.microsoft.com/office/drawing/2014/main" id="{22F1BCF1-82B8-AA4A-8EEA-4982D0AB57FB}"/>
                </a:ext>
              </a:extLst>
            </p:cNvPr>
            <p:cNvSpPr>
              <a:spLocks noEditPoints="1"/>
            </p:cNvSpPr>
            <p:nvPr/>
          </p:nvSpPr>
          <p:spPr bwMode="auto">
            <a:xfrm>
              <a:off x="9593263" y="1906588"/>
              <a:ext cx="541338" cy="631825"/>
            </a:xfrm>
            <a:custGeom>
              <a:avLst/>
              <a:gdLst>
                <a:gd name="T0" fmla="*/ 225 w 285"/>
                <a:gd name="T1" fmla="*/ 129 h 332"/>
                <a:gd name="T2" fmla="*/ 151 w 285"/>
                <a:gd name="T3" fmla="*/ 48 h 332"/>
                <a:gd name="T4" fmla="*/ 62 w 285"/>
                <a:gd name="T5" fmla="*/ 129 h 332"/>
                <a:gd name="T6" fmla="*/ 225 w 285"/>
                <a:gd name="T7" fmla="*/ 129 h 332"/>
                <a:gd name="T8" fmla="*/ 153 w 285"/>
                <a:gd name="T9" fmla="*/ 0 h 332"/>
                <a:gd name="T10" fmla="*/ 285 w 285"/>
                <a:gd name="T11" fmla="*/ 148 h 332"/>
                <a:gd name="T12" fmla="*/ 283 w 285"/>
                <a:gd name="T13" fmla="*/ 175 h 332"/>
                <a:gd name="T14" fmla="*/ 60 w 285"/>
                <a:gd name="T15" fmla="*/ 175 h 332"/>
                <a:gd name="T16" fmla="*/ 165 w 285"/>
                <a:gd name="T17" fmla="*/ 279 h 332"/>
                <a:gd name="T18" fmla="*/ 256 w 285"/>
                <a:gd name="T19" fmla="*/ 242 h 332"/>
                <a:gd name="T20" fmla="*/ 280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3" y="75"/>
                    <a:pt x="191" y="48"/>
                    <a:pt x="151" y="48"/>
                  </a:cubicBezTo>
                  <a:cubicBezTo>
                    <a:pt x="107" y="48"/>
                    <a:pt x="70" y="77"/>
                    <a:pt x="62" y="129"/>
                  </a:cubicBezTo>
                  <a:lnTo>
                    <a:pt x="225" y="129"/>
                  </a:lnTo>
                  <a:close/>
                  <a:moveTo>
                    <a:pt x="153" y="0"/>
                  </a:moveTo>
                  <a:cubicBezTo>
                    <a:pt x="239" y="0"/>
                    <a:pt x="285" y="66"/>
                    <a:pt x="285" y="148"/>
                  </a:cubicBezTo>
                  <a:cubicBezTo>
                    <a:pt x="285" y="156"/>
                    <a:pt x="283" y="175"/>
                    <a:pt x="283" y="175"/>
                  </a:cubicBezTo>
                  <a:cubicBezTo>
                    <a:pt x="60" y="175"/>
                    <a:pt x="60" y="175"/>
                    <a:pt x="60" y="175"/>
                  </a:cubicBezTo>
                  <a:cubicBezTo>
                    <a:pt x="63" y="244"/>
                    <a:pt x="111" y="279"/>
                    <a:pt x="165" y="279"/>
                  </a:cubicBezTo>
                  <a:cubicBezTo>
                    <a:pt x="218" y="279"/>
                    <a:pt x="256" y="242"/>
                    <a:pt x="256" y="242"/>
                  </a:cubicBezTo>
                  <a:cubicBezTo>
                    <a:pt x="280" y="287"/>
                    <a:pt x="280" y="287"/>
                    <a:pt x="280" y="287"/>
                  </a:cubicBezTo>
                  <a:cubicBezTo>
                    <a:pt x="280" y="287"/>
                    <a:pt x="235" y="332"/>
                    <a:pt x="162" y="332"/>
                  </a:cubicBezTo>
                  <a:cubicBezTo>
                    <a:pt x="65" y="332"/>
                    <a:pt x="0" y="260"/>
                    <a:pt x="0" y="166"/>
                  </a:cubicBezTo>
                  <a:cubicBezTo>
                    <a:pt x="0" y="65"/>
                    <a:pt x="65"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5" name="Freeform 54">
              <a:extLst>
                <a:ext uri="{FF2B5EF4-FFF2-40B4-BE49-F238E27FC236}">
                  <a16:creationId xmlns:a16="http://schemas.microsoft.com/office/drawing/2014/main" id="{50173989-5FDB-634F-A96D-F08DD912D71B}"/>
                </a:ext>
              </a:extLst>
            </p:cNvPr>
            <p:cNvSpPr>
              <a:spLocks/>
            </p:cNvSpPr>
            <p:nvPr/>
          </p:nvSpPr>
          <p:spPr bwMode="auto">
            <a:xfrm>
              <a:off x="10229851" y="1906588"/>
              <a:ext cx="525463" cy="615950"/>
            </a:xfrm>
            <a:custGeom>
              <a:avLst/>
              <a:gdLst>
                <a:gd name="T0" fmla="*/ 0 w 277"/>
                <a:gd name="T1" fmla="*/ 8 h 324"/>
                <a:gd name="T2" fmla="*/ 57 w 277"/>
                <a:gd name="T3" fmla="*/ 8 h 324"/>
                <a:gd name="T4" fmla="*/ 57 w 277"/>
                <a:gd name="T5" fmla="*/ 50 h 324"/>
                <a:gd name="T6" fmla="*/ 56 w 277"/>
                <a:gd name="T7" fmla="*/ 73 h 324"/>
                <a:gd name="T8" fmla="*/ 57 w 277"/>
                <a:gd name="T9" fmla="*/ 73 h 324"/>
                <a:gd name="T10" fmla="*/ 172 w 277"/>
                <a:gd name="T11" fmla="*/ 0 h 324"/>
                <a:gd name="T12" fmla="*/ 277 w 277"/>
                <a:gd name="T13" fmla="*/ 122 h 324"/>
                <a:gd name="T14" fmla="*/ 277 w 277"/>
                <a:gd name="T15" fmla="*/ 324 h 324"/>
                <a:gd name="T16" fmla="*/ 218 w 277"/>
                <a:gd name="T17" fmla="*/ 324 h 324"/>
                <a:gd name="T18" fmla="*/ 218 w 277"/>
                <a:gd name="T19" fmla="*/ 135 h 324"/>
                <a:gd name="T20" fmla="*/ 160 w 277"/>
                <a:gd name="T21" fmla="*/ 56 h 324"/>
                <a:gd name="T22" fmla="*/ 63 w 277"/>
                <a:gd name="T23" fmla="*/ 133 h 324"/>
                <a:gd name="T24" fmla="*/ 59 w 277"/>
                <a:gd name="T25" fmla="*/ 176 h 324"/>
                <a:gd name="T26" fmla="*/ 59 w 277"/>
                <a:gd name="T27" fmla="*/ 324 h 324"/>
                <a:gd name="T28" fmla="*/ 0 w 277"/>
                <a:gd name="T29" fmla="*/ 324 h 324"/>
                <a:gd name="T30" fmla="*/ 0 w 277"/>
                <a:gd name="T31" fmla="*/ 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324">
                  <a:moveTo>
                    <a:pt x="0" y="8"/>
                  </a:moveTo>
                  <a:cubicBezTo>
                    <a:pt x="57" y="8"/>
                    <a:pt x="57" y="8"/>
                    <a:pt x="57" y="8"/>
                  </a:cubicBezTo>
                  <a:cubicBezTo>
                    <a:pt x="57" y="50"/>
                    <a:pt x="57" y="50"/>
                    <a:pt x="57" y="50"/>
                  </a:cubicBezTo>
                  <a:cubicBezTo>
                    <a:pt x="57" y="62"/>
                    <a:pt x="56" y="73"/>
                    <a:pt x="56" y="73"/>
                  </a:cubicBezTo>
                  <a:cubicBezTo>
                    <a:pt x="57" y="73"/>
                    <a:pt x="57" y="73"/>
                    <a:pt x="57" y="73"/>
                  </a:cubicBezTo>
                  <a:cubicBezTo>
                    <a:pt x="69" y="45"/>
                    <a:pt x="105" y="0"/>
                    <a:pt x="172" y="0"/>
                  </a:cubicBezTo>
                  <a:cubicBezTo>
                    <a:pt x="244" y="0"/>
                    <a:pt x="277" y="41"/>
                    <a:pt x="277" y="122"/>
                  </a:cubicBezTo>
                  <a:cubicBezTo>
                    <a:pt x="277" y="324"/>
                    <a:pt x="277" y="324"/>
                    <a:pt x="277" y="324"/>
                  </a:cubicBezTo>
                  <a:cubicBezTo>
                    <a:pt x="218" y="324"/>
                    <a:pt x="218" y="324"/>
                    <a:pt x="218" y="324"/>
                  </a:cubicBezTo>
                  <a:cubicBezTo>
                    <a:pt x="218" y="135"/>
                    <a:pt x="218" y="135"/>
                    <a:pt x="218" y="135"/>
                  </a:cubicBezTo>
                  <a:cubicBezTo>
                    <a:pt x="218" y="91"/>
                    <a:pt x="209" y="56"/>
                    <a:pt x="160" y="56"/>
                  </a:cubicBezTo>
                  <a:cubicBezTo>
                    <a:pt x="114" y="56"/>
                    <a:pt x="76" y="88"/>
                    <a:pt x="63" y="133"/>
                  </a:cubicBezTo>
                  <a:cubicBezTo>
                    <a:pt x="60" y="146"/>
                    <a:pt x="59" y="160"/>
                    <a:pt x="59" y="176"/>
                  </a:cubicBezTo>
                  <a:cubicBezTo>
                    <a:pt x="59" y="324"/>
                    <a:pt x="59" y="324"/>
                    <a:pt x="59" y="324"/>
                  </a:cubicBezTo>
                  <a:cubicBezTo>
                    <a:pt x="0" y="324"/>
                    <a:pt x="0" y="324"/>
                    <a:pt x="0" y="324"/>
                  </a:cubicBezTo>
                  <a:lnTo>
                    <a:pt x="0" y="8"/>
                  </a:lnTo>
                  <a:close/>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6" name="Freeform 55">
              <a:extLst>
                <a:ext uri="{FF2B5EF4-FFF2-40B4-BE49-F238E27FC236}">
                  <a16:creationId xmlns:a16="http://schemas.microsoft.com/office/drawing/2014/main" id="{4CC31D51-26ED-D741-B326-C6F6C4B537D4}"/>
                </a:ext>
              </a:extLst>
            </p:cNvPr>
            <p:cNvSpPr>
              <a:spLocks/>
            </p:cNvSpPr>
            <p:nvPr/>
          </p:nvSpPr>
          <p:spPr bwMode="auto">
            <a:xfrm>
              <a:off x="10839451" y="1906588"/>
              <a:ext cx="542925" cy="631825"/>
            </a:xfrm>
            <a:custGeom>
              <a:avLst/>
              <a:gdLst>
                <a:gd name="T0" fmla="*/ 164 w 286"/>
                <a:gd name="T1" fmla="*/ 0 h 332"/>
                <a:gd name="T2" fmla="*/ 279 w 286"/>
                <a:gd name="T3" fmla="*/ 46 h 332"/>
                <a:gd name="T4" fmla="*/ 251 w 286"/>
                <a:gd name="T5" fmla="*/ 89 h 332"/>
                <a:gd name="T6" fmla="*/ 166 w 286"/>
                <a:gd name="T7" fmla="*/ 53 h 332"/>
                <a:gd name="T8" fmla="*/ 60 w 286"/>
                <a:gd name="T9" fmla="*/ 165 h 332"/>
                <a:gd name="T10" fmla="*/ 168 w 286"/>
                <a:gd name="T11" fmla="*/ 279 h 332"/>
                <a:gd name="T12" fmla="*/ 263 w 286"/>
                <a:gd name="T13" fmla="*/ 237 h 332"/>
                <a:gd name="T14" fmla="*/ 286 w 286"/>
                <a:gd name="T15" fmla="*/ 281 h 332"/>
                <a:gd name="T16" fmla="*/ 164 w 286"/>
                <a:gd name="T17" fmla="*/ 332 h 332"/>
                <a:gd name="T18" fmla="*/ 0 w 286"/>
                <a:gd name="T19" fmla="*/ 166 h 332"/>
                <a:gd name="T20" fmla="*/ 164 w 286"/>
                <a:gd name="T21"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6" h="332">
                  <a:moveTo>
                    <a:pt x="164" y="0"/>
                  </a:moveTo>
                  <a:cubicBezTo>
                    <a:pt x="241" y="0"/>
                    <a:pt x="279" y="46"/>
                    <a:pt x="279" y="46"/>
                  </a:cubicBezTo>
                  <a:cubicBezTo>
                    <a:pt x="251" y="89"/>
                    <a:pt x="251" y="89"/>
                    <a:pt x="251" y="89"/>
                  </a:cubicBezTo>
                  <a:cubicBezTo>
                    <a:pt x="251" y="89"/>
                    <a:pt x="218" y="53"/>
                    <a:pt x="166" y="53"/>
                  </a:cubicBezTo>
                  <a:cubicBezTo>
                    <a:pt x="105" y="53"/>
                    <a:pt x="60" y="100"/>
                    <a:pt x="60" y="165"/>
                  </a:cubicBezTo>
                  <a:cubicBezTo>
                    <a:pt x="60" y="230"/>
                    <a:pt x="105" y="279"/>
                    <a:pt x="168" y="279"/>
                  </a:cubicBezTo>
                  <a:cubicBezTo>
                    <a:pt x="225" y="279"/>
                    <a:pt x="263" y="237"/>
                    <a:pt x="263" y="237"/>
                  </a:cubicBezTo>
                  <a:cubicBezTo>
                    <a:pt x="286" y="281"/>
                    <a:pt x="286" y="281"/>
                    <a:pt x="286" y="281"/>
                  </a:cubicBezTo>
                  <a:cubicBezTo>
                    <a:pt x="286" y="281"/>
                    <a:pt x="244" y="332"/>
                    <a:pt x="164" y="332"/>
                  </a:cubicBezTo>
                  <a:cubicBezTo>
                    <a:pt x="68" y="332"/>
                    <a:pt x="0" y="261"/>
                    <a:pt x="0" y="166"/>
                  </a:cubicBezTo>
                  <a:cubicBezTo>
                    <a:pt x="0" y="72"/>
                    <a:pt x="68" y="0"/>
                    <a:pt x="164"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7" name="Freeform 56">
              <a:extLst>
                <a:ext uri="{FF2B5EF4-FFF2-40B4-BE49-F238E27FC236}">
                  <a16:creationId xmlns:a16="http://schemas.microsoft.com/office/drawing/2014/main" id="{3E0F7171-006D-8341-8A15-A0D155D4DB21}"/>
                </a:ext>
              </a:extLst>
            </p:cNvPr>
            <p:cNvSpPr>
              <a:spLocks noEditPoints="1"/>
            </p:cNvSpPr>
            <p:nvPr/>
          </p:nvSpPr>
          <p:spPr bwMode="auto">
            <a:xfrm>
              <a:off x="11409363" y="1906588"/>
              <a:ext cx="541338" cy="631825"/>
            </a:xfrm>
            <a:custGeom>
              <a:avLst/>
              <a:gdLst>
                <a:gd name="T0" fmla="*/ 225 w 285"/>
                <a:gd name="T1" fmla="*/ 129 h 332"/>
                <a:gd name="T2" fmla="*/ 152 w 285"/>
                <a:gd name="T3" fmla="*/ 48 h 332"/>
                <a:gd name="T4" fmla="*/ 62 w 285"/>
                <a:gd name="T5" fmla="*/ 129 h 332"/>
                <a:gd name="T6" fmla="*/ 225 w 285"/>
                <a:gd name="T7" fmla="*/ 129 h 332"/>
                <a:gd name="T8" fmla="*/ 153 w 285"/>
                <a:gd name="T9" fmla="*/ 0 h 332"/>
                <a:gd name="T10" fmla="*/ 285 w 285"/>
                <a:gd name="T11" fmla="*/ 148 h 332"/>
                <a:gd name="T12" fmla="*/ 284 w 285"/>
                <a:gd name="T13" fmla="*/ 175 h 332"/>
                <a:gd name="T14" fmla="*/ 60 w 285"/>
                <a:gd name="T15" fmla="*/ 175 h 332"/>
                <a:gd name="T16" fmla="*/ 166 w 285"/>
                <a:gd name="T17" fmla="*/ 279 h 332"/>
                <a:gd name="T18" fmla="*/ 256 w 285"/>
                <a:gd name="T19" fmla="*/ 242 h 332"/>
                <a:gd name="T20" fmla="*/ 281 w 285"/>
                <a:gd name="T21" fmla="*/ 287 h 332"/>
                <a:gd name="T22" fmla="*/ 162 w 285"/>
                <a:gd name="T23" fmla="*/ 332 h 332"/>
                <a:gd name="T24" fmla="*/ 0 w 285"/>
                <a:gd name="T25" fmla="*/ 166 h 332"/>
                <a:gd name="T26" fmla="*/ 153 w 285"/>
                <a:gd name="T27" fmla="*/ 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5" h="332">
                  <a:moveTo>
                    <a:pt x="225" y="129"/>
                  </a:moveTo>
                  <a:cubicBezTo>
                    <a:pt x="224" y="75"/>
                    <a:pt x="191" y="48"/>
                    <a:pt x="152" y="48"/>
                  </a:cubicBezTo>
                  <a:cubicBezTo>
                    <a:pt x="107" y="48"/>
                    <a:pt x="71" y="77"/>
                    <a:pt x="62" y="129"/>
                  </a:cubicBezTo>
                  <a:lnTo>
                    <a:pt x="225" y="129"/>
                  </a:lnTo>
                  <a:close/>
                  <a:moveTo>
                    <a:pt x="153" y="0"/>
                  </a:moveTo>
                  <a:cubicBezTo>
                    <a:pt x="239" y="0"/>
                    <a:pt x="285" y="66"/>
                    <a:pt x="285" y="148"/>
                  </a:cubicBezTo>
                  <a:cubicBezTo>
                    <a:pt x="285" y="156"/>
                    <a:pt x="284" y="175"/>
                    <a:pt x="284" y="175"/>
                  </a:cubicBezTo>
                  <a:cubicBezTo>
                    <a:pt x="60" y="175"/>
                    <a:pt x="60" y="175"/>
                    <a:pt x="60" y="175"/>
                  </a:cubicBezTo>
                  <a:cubicBezTo>
                    <a:pt x="63" y="244"/>
                    <a:pt x="111" y="279"/>
                    <a:pt x="166" y="279"/>
                  </a:cubicBezTo>
                  <a:cubicBezTo>
                    <a:pt x="218" y="279"/>
                    <a:pt x="256" y="242"/>
                    <a:pt x="256" y="242"/>
                  </a:cubicBezTo>
                  <a:cubicBezTo>
                    <a:pt x="281" y="287"/>
                    <a:pt x="281" y="287"/>
                    <a:pt x="281" y="287"/>
                  </a:cubicBezTo>
                  <a:cubicBezTo>
                    <a:pt x="281" y="287"/>
                    <a:pt x="235" y="332"/>
                    <a:pt x="162" y="332"/>
                  </a:cubicBezTo>
                  <a:cubicBezTo>
                    <a:pt x="66" y="332"/>
                    <a:pt x="0" y="260"/>
                    <a:pt x="0" y="166"/>
                  </a:cubicBezTo>
                  <a:cubicBezTo>
                    <a:pt x="0" y="65"/>
                    <a:pt x="66" y="0"/>
                    <a:pt x="153" y="0"/>
                  </a:cubicBezTo>
                </a:path>
              </a:pathLst>
            </a:custGeom>
            <a:grpFill/>
            <a:ln>
              <a:noFill/>
            </a:ln>
          </p:spPr>
          <p:txBody>
            <a:bodyPr vert="horz" wrap="square" lIns="91440" tIns="45720" rIns="91440" bIns="45720" numCol="1" anchor="t" anchorCtr="0" compatLnSpc="1">
              <a:prstTxWarp prst="textNoShape">
                <a:avLst/>
              </a:prstTxWarp>
            </a:bodyPr>
            <a:lstStyle/>
            <a:p>
              <a:endParaRPr lang="en-GB" baseline="0"/>
            </a:p>
          </p:txBody>
        </p:sp>
        <p:sp>
          <p:nvSpPr>
            <p:cNvPr id="58" name="Rectangle 57">
              <a:extLst>
                <a:ext uri="{FF2B5EF4-FFF2-40B4-BE49-F238E27FC236}">
                  <a16:creationId xmlns:a16="http://schemas.microsoft.com/office/drawing/2014/main" id="{A0F74615-2584-7846-9F1F-D25B1552C30E}"/>
                </a:ext>
              </a:extLst>
            </p:cNvPr>
            <p:cNvSpPr>
              <a:spLocks noChangeArrowheads="1"/>
            </p:cNvSpPr>
            <p:nvPr/>
          </p:nvSpPr>
          <p:spPr bwMode="auto">
            <a:xfrm>
              <a:off x="12044363" y="2401888"/>
              <a:ext cx="117475" cy="120650"/>
            </a:xfrm>
            <a:prstGeom prst="rect">
              <a:avLst/>
            </a:prstGeom>
            <a:grpFill/>
            <a:ln>
              <a:noFill/>
            </a:ln>
          </p:spPr>
          <p:txBody>
            <a:bodyPr vert="horz" wrap="square" lIns="91440" tIns="45720" rIns="91440" bIns="45720" numCol="1" anchor="t" anchorCtr="0" compatLnSpc="1">
              <a:prstTxWarp prst="textNoShape">
                <a:avLst/>
              </a:prstTxWarp>
            </a:bodyPr>
            <a:lstStyle/>
            <a:p>
              <a:endParaRPr lang="en-GB" baseline="0"/>
            </a:p>
          </p:txBody>
        </p:sp>
      </p:grpSp>
      <p:grpSp>
        <p:nvGrpSpPr>
          <p:cNvPr id="59" name="Group 58">
            <a:extLst>
              <a:ext uri="{FF2B5EF4-FFF2-40B4-BE49-F238E27FC236}">
                <a16:creationId xmlns:a16="http://schemas.microsoft.com/office/drawing/2014/main" id="{5CAA4F8F-E996-B147-87AD-875344BC224A}"/>
              </a:ext>
            </a:extLst>
          </p:cNvPr>
          <p:cNvGrpSpPr/>
          <p:nvPr/>
        </p:nvGrpSpPr>
        <p:grpSpPr>
          <a:xfrm>
            <a:off x="11862848" y="1678073"/>
            <a:ext cx="230832" cy="3501854"/>
            <a:chOff x="0" y="1980381"/>
            <a:chExt cx="230832" cy="3501854"/>
          </a:xfrm>
        </p:grpSpPr>
        <p:sp>
          <p:nvSpPr>
            <p:cNvPr id="60" name="TextBox 59">
              <a:extLst>
                <a:ext uri="{FF2B5EF4-FFF2-40B4-BE49-F238E27FC236}">
                  <a16:creationId xmlns:a16="http://schemas.microsoft.com/office/drawing/2014/main" id="{64BD0580-69B4-F34E-8311-1911C864A523}"/>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61" name="Straight Connector 60">
              <a:extLst>
                <a:ext uri="{FF2B5EF4-FFF2-40B4-BE49-F238E27FC236}">
                  <a16:creationId xmlns:a16="http://schemas.microsoft.com/office/drawing/2014/main" id="{5DC71938-0B18-FF49-AB6E-0A1E9E1936D2}"/>
                </a:ext>
              </a:extLst>
            </p:cNvPr>
            <p:cNvCxnSpPr>
              <a:cxnSpLocks/>
            </p:cNvCxnSpPr>
            <p:nvPr/>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581B04C-6E0C-7646-907B-615E7E17093A}"/>
                </a:ext>
              </a:extLst>
            </p:cNvPr>
            <p:cNvCxnSpPr>
              <a:cxnSpLocks/>
            </p:cNvCxnSpPr>
            <p:nvPr/>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
        <p:nvSpPr>
          <p:cNvPr id="63" name="Freeform 5">
            <a:extLst>
              <a:ext uri="{FF2B5EF4-FFF2-40B4-BE49-F238E27FC236}">
                <a16:creationId xmlns:a16="http://schemas.microsoft.com/office/drawing/2014/main" id="{D35013EA-8F1C-B648-8834-E618C821201D}"/>
              </a:ext>
            </a:extLst>
          </p:cNvPr>
          <p:cNvSpPr>
            <a:spLocks/>
          </p:cNvSpPr>
          <p:nvPr userDrawn="1"/>
        </p:nvSpPr>
        <p:spPr bwMode="auto">
          <a:xfrm flipH="1">
            <a:off x="1393" y="2234871"/>
            <a:ext cx="4578350" cy="4622935"/>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TextBox 63">
            <a:extLst>
              <a:ext uri="{FF2B5EF4-FFF2-40B4-BE49-F238E27FC236}">
                <a16:creationId xmlns:a16="http://schemas.microsoft.com/office/drawing/2014/main" id="{DC9B1E07-5CFC-E84C-BF61-CAD19D8A0185}"/>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dirty="0">
              <a:solidFill>
                <a:schemeClr val="tx1"/>
              </a:solidFill>
            </a:endParaRPr>
          </a:p>
        </p:txBody>
      </p:sp>
      <p:grpSp>
        <p:nvGrpSpPr>
          <p:cNvPr id="108" name="Group 107">
            <a:extLst>
              <a:ext uri="{FF2B5EF4-FFF2-40B4-BE49-F238E27FC236}">
                <a16:creationId xmlns:a16="http://schemas.microsoft.com/office/drawing/2014/main" id="{145A7A15-11D8-D142-A180-53697E13CFA8}"/>
              </a:ext>
            </a:extLst>
          </p:cNvPr>
          <p:cNvGrpSpPr/>
          <p:nvPr userDrawn="1"/>
        </p:nvGrpSpPr>
        <p:grpSpPr>
          <a:xfrm>
            <a:off x="11862848" y="1678073"/>
            <a:ext cx="230832" cy="3501854"/>
            <a:chOff x="0" y="1980381"/>
            <a:chExt cx="230832" cy="3501854"/>
          </a:xfrm>
        </p:grpSpPr>
        <p:sp>
          <p:nvSpPr>
            <p:cNvPr id="109" name="TextBox 108">
              <a:extLst>
                <a:ext uri="{FF2B5EF4-FFF2-40B4-BE49-F238E27FC236}">
                  <a16:creationId xmlns:a16="http://schemas.microsoft.com/office/drawing/2014/main" id="{617D4F3D-B2C7-4A45-A62F-012D39F40B45}"/>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110" name="Straight Connector 109">
              <a:extLst>
                <a:ext uri="{FF2B5EF4-FFF2-40B4-BE49-F238E27FC236}">
                  <a16:creationId xmlns:a16="http://schemas.microsoft.com/office/drawing/2014/main" id="{7C83294B-A11A-7D4D-9E0E-B05053C63C00}"/>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3B427D0-EA25-0F41-862E-0E2FB898A5EF}"/>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12" name="Graphic 111">
            <a:extLst>
              <a:ext uri="{FF2B5EF4-FFF2-40B4-BE49-F238E27FC236}">
                <a16:creationId xmlns:a16="http://schemas.microsoft.com/office/drawing/2014/main" id="{27785070-3913-2E47-A65B-E287C1C09763}"/>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0163" y="6213912"/>
            <a:ext cx="1996068" cy="644088"/>
          </a:xfrm>
          <a:prstGeom prst="rect">
            <a:avLst/>
          </a:prstGeom>
        </p:spPr>
      </p:pic>
    </p:spTree>
    <p:extLst>
      <p:ext uri="{BB962C8B-B14F-4D97-AF65-F5344CB8AC3E}">
        <p14:creationId xmlns:p14="http://schemas.microsoft.com/office/powerpoint/2010/main" val="8226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vider w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a:xfrm>
            <a:off x="6650987" y="1666239"/>
            <a:ext cx="5114597" cy="867930"/>
          </a:xfrm>
        </p:spPr>
        <p:txBody>
          <a:bodyPr wrap="square" anchor="b">
            <a:spAutoFit/>
          </a:bodyPr>
          <a:lstStyle/>
          <a:p>
            <a:r>
              <a:rPr lang="zh-CN" altLang="en-US"/>
              <a:t>单击此处编辑母版标题样式</a:t>
            </a:r>
            <a:endParaRPr lang="en-BE" dirty="0"/>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grpSp>
        <p:nvGrpSpPr>
          <p:cNvPr id="8" name="Group 7">
            <a:extLst>
              <a:ext uri="{FF2B5EF4-FFF2-40B4-BE49-F238E27FC236}">
                <a16:creationId xmlns:a16="http://schemas.microsoft.com/office/drawing/2014/main" id="{9EA25FCE-E0FB-6746-8D6E-F7317D200228}"/>
              </a:ext>
            </a:extLst>
          </p:cNvPr>
          <p:cNvGrpSpPr/>
          <p:nvPr/>
        </p:nvGrpSpPr>
        <p:grpSpPr>
          <a:xfrm>
            <a:off x="6057785" y="3509736"/>
            <a:ext cx="593202" cy="975172"/>
            <a:chOff x="6110794" y="3712667"/>
            <a:chExt cx="604094" cy="1022367"/>
          </a:xfrm>
        </p:grpSpPr>
        <p:sp>
          <p:nvSpPr>
            <p:cNvPr id="9" name="Freeform 5">
              <a:extLst>
                <a:ext uri="{FF2B5EF4-FFF2-40B4-BE49-F238E27FC236}">
                  <a16:creationId xmlns:a16="http://schemas.microsoft.com/office/drawing/2014/main" id="{C1D28AFC-691E-A84B-B253-C2E6EBA96530}"/>
                </a:ext>
              </a:extLst>
            </p:cNvPr>
            <p:cNvSpPr>
              <a:spLocks/>
            </p:cNvSpPr>
            <p:nvPr/>
          </p:nvSpPr>
          <p:spPr bwMode="auto">
            <a:xfrm>
              <a:off x="6541123"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
              <a:extLst>
                <a:ext uri="{FF2B5EF4-FFF2-40B4-BE49-F238E27FC236}">
                  <a16:creationId xmlns:a16="http://schemas.microsoft.com/office/drawing/2014/main" id="{1E53D310-7F49-8844-B536-B5E23035A4A3}"/>
                </a:ext>
              </a:extLst>
            </p:cNvPr>
            <p:cNvSpPr>
              <a:spLocks/>
            </p:cNvSpPr>
            <p:nvPr/>
          </p:nvSpPr>
          <p:spPr bwMode="auto">
            <a:xfrm>
              <a:off x="6326542"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7">
              <a:extLst>
                <a:ext uri="{FF2B5EF4-FFF2-40B4-BE49-F238E27FC236}">
                  <a16:creationId xmlns:a16="http://schemas.microsoft.com/office/drawing/2014/main" id="{B948D674-5FC9-6A41-9EBC-CBD09BFC8C44}"/>
                </a:ext>
              </a:extLst>
            </p:cNvPr>
            <p:cNvSpPr>
              <a:spLocks/>
            </p:cNvSpPr>
            <p:nvPr/>
          </p:nvSpPr>
          <p:spPr bwMode="auto">
            <a:xfrm>
              <a:off x="6110794"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10">
              <a:extLst>
                <a:ext uri="{FF2B5EF4-FFF2-40B4-BE49-F238E27FC236}">
                  <a16:creationId xmlns:a16="http://schemas.microsoft.com/office/drawing/2014/main" id="{1E5203ED-D85F-4F49-9880-D662420577BD}"/>
                </a:ext>
              </a:extLst>
            </p:cNvPr>
            <p:cNvSpPr>
              <a:spLocks/>
            </p:cNvSpPr>
            <p:nvPr/>
          </p:nvSpPr>
          <p:spPr bwMode="auto">
            <a:xfrm>
              <a:off x="6541123"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5"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1">
              <a:extLst>
                <a:ext uri="{FF2B5EF4-FFF2-40B4-BE49-F238E27FC236}">
                  <a16:creationId xmlns:a16="http://schemas.microsoft.com/office/drawing/2014/main" id="{7C4A71DB-93FE-B249-B34A-606A82475D32}"/>
                </a:ext>
              </a:extLst>
            </p:cNvPr>
            <p:cNvSpPr>
              <a:spLocks/>
            </p:cNvSpPr>
            <p:nvPr/>
          </p:nvSpPr>
          <p:spPr bwMode="auto">
            <a:xfrm>
              <a:off x="6326542"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2">
              <a:extLst>
                <a:ext uri="{FF2B5EF4-FFF2-40B4-BE49-F238E27FC236}">
                  <a16:creationId xmlns:a16="http://schemas.microsoft.com/office/drawing/2014/main" id="{2AE16C31-BDC5-E344-9877-FCA28EF4F5E3}"/>
                </a:ext>
              </a:extLst>
            </p:cNvPr>
            <p:cNvSpPr>
              <a:spLocks/>
            </p:cNvSpPr>
            <p:nvPr/>
          </p:nvSpPr>
          <p:spPr bwMode="auto">
            <a:xfrm>
              <a:off x="6110794"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15">
              <a:extLst>
                <a:ext uri="{FF2B5EF4-FFF2-40B4-BE49-F238E27FC236}">
                  <a16:creationId xmlns:a16="http://schemas.microsoft.com/office/drawing/2014/main" id="{66503F38-0FFA-A04B-922D-26BE538F6E02}"/>
                </a:ext>
              </a:extLst>
            </p:cNvPr>
            <p:cNvSpPr>
              <a:spLocks/>
            </p:cNvSpPr>
            <p:nvPr/>
          </p:nvSpPr>
          <p:spPr bwMode="auto">
            <a:xfrm>
              <a:off x="6541123"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5">
              <a:extLst>
                <a:ext uri="{FF2B5EF4-FFF2-40B4-BE49-F238E27FC236}">
                  <a16:creationId xmlns:a16="http://schemas.microsoft.com/office/drawing/2014/main" id="{DEA12EF2-91CC-8D42-9823-B16D528E2A03}"/>
                </a:ext>
              </a:extLst>
            </p:cNvPr>
            <p:cNvSpPr>
              <a:spLocks/>
            </p:cNvSpPr>
            <p:nvPr/>
          </p:nvSpPr>
          <p:spPr bwMode="auto">
            <a:xfrm>
              <a:off x="6326542"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6">
              <a:extLst>
                <a:ext uri="{FF2B5EF4-FFF2-40B4-BE49-F238E27FC236}">
                  <a16:creationId xmlns:a16="http://schemas.microsoft.com/office/drawing/2014/main" id="{F2D2D9EB-7B28-FF47-A08A-0B38EE5FA857}"/>
                </a:ext>
              </a:extLst>
            </p:cNvPr>
            <p:cNvSpPr>
              <a:spLocks/>
            </p:cNvSpPr>
            <p:nvPr/>
          </p:nvSpPr>
          <p:spPr bwMode="auto">
            <a:xfrm>
              <a:off x="6110794"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0">
              <a:extLst>
                <a:ext uri="{FF2B5EF4-FFF2-40B4-BE49-F238E27FC236}">
                  <a16:creationId xmlns:a16="http://schemas.microsoft.com/office/drawing/2014/main" id="{12031F8B-BF64-2B49-9A2C-56AC025F4A21}"/>
                </a:ext>
              </a:extLst>
            </p:cNvPr>
            <p:cNvSpPr>
              <a:spLocks/>
            </p:cNvSpPr>
            <p:nvPr/>
          </p:nvSpPr>
          <p:spPr bwMode="auto">
            <a:xfrm>
              <a:off x="6541123"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1">
              <a:extLst>
                <a:ext uri="{FF2B5EF4-FFF2-40B4-BE49-F238E27FC236}">
                  <a16:creationId xmlns:a16="http://schemas.microsoft.com/office/drawing/2014/main" id="{6B3B3596-2B68-104A-B352-2C13698369CF}"/>
                </a:ext>
              </a:extLst>
            </p:cNvPr>
            <p:cNvSpPr>
              <a:spLocks/>
            </p:cNvSpPr>
            <p:nvPr/>
          </p:nvSpPr>
          <p:spPr bwMode="auto">
            <a:xfrm>
              <a:off x="6326542"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2">
              <a:extLst>
                <a:ext uri="{FF2B5EF4-FFF2-40B4-BE49-F238E27FC236}">
                  <a16:creationId xmlns:a16="http://schemas.microsoft.com/office/drawing/2014/main" id="{869C5B73-3D9B-8347-8913-120A3BA99370}"/>
                </a:ext>
              </a:extLst>
            </p:cNvPr>
            <p:cNvSpPr>
              <a:spLocks/>
            </p:cNvSpPr>
            <p:nvPr/>
          </p:nvSpPr>
          <p:spPr bwMode="auto">
            <a:xfrm>
              <a:off x="6110794"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5">
              <a:extLst>
                <a:ext uri="{FF2B5EF4-FFF2-40B4-BE49-F238E27FC236}">
                  <a16:creationId xmlns:a16="http://schemas.microsoft.com/office/drawing/2014/main" id="{31B97D44-E645-4647-9566-C5212128CF97}"/>
                </a:ext>
              </a:extLst>
            </p:cNvPr>
            <p:cNvSpPr>
              <a:spLocks/>
            </p:cNvSpPr>
            <p:nvPr/>
          </p:nvSpPr>
          <p:spPr bwMode="auto">
            <a:xfrm>
              <a:off x="6541123"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26">
              <a:extLst>
                <a:ext uri="{FF2B5EF4-FFF2-40B4-BE49-F238E27FC236}">
                  <a16:creationId xmlns:a16="http://schemas.microsoft.com/office/drawing/2014/main" id="{2F2EA29D-1801-4B4D-9110-F5D4C9514F35}"/>
                </a:ext>
              </a:extLst>
            </p:cNvPr>
            <p:cNvSpPr>
              <a:spLocks/>
            </p:cNvSpPr>
            <p:nvPr/>
          </p:nvSpPr>
          <p:spPr bwMode="auto">
            <a:xfrm>
              <a:off x="6326542"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27">
              <a:extLst>
                <a:ext uri="{FF2B5EF4-FFF2-40B4-BE49-F238E27FC236}">
                  <a16:creationId xmlns:a16="http://schemas.microsoft.com/office/drawing/2014/main" id="{4D01950D-2B09-2945-80E1-9A85F78BDE51}"/>
                </a:ext>
              </a:extLst>
            </p:cNvPr>
            <p:cNvSpPr>
              <a:spLocks/>
            </p:cNvSpPr>
            <p:nvPr/>
          </p:nvSpPr>
          <p:spPr bwMode="auto">
            <a:xfrm>
              <a:off x="6110794"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 name="Picture Placeholder 38">
            <a:extLst>
              <a:ext uri="{FF2B5EF4-FFF2-40B4-BE49-F238E27FC236}">
                <a16:creationId xmlns:a16="http://schemas.microsoft.com/office/drawing/2014/main" id="{3AD6F89A-BE59-3D46-8D99-972CD940DFD9}"/>
              </a:ext>
            </a:extLst>
          </p:cNvPr>
          <p:cNvSpPr>
            <a:spLocks noGrp="1"/>
          </p:cNvSpPr>
          <p:nvPr>
            <p:ph type="pic" sz="quarter" idx="17"/>
          </p:nvPr>
        </p:nvSpPr>
        <p:spPr>
          <a:xfrm>
            <a:off x="407988" y="341032"/>
            <a:ext cx="5640448" cy="5761038"/>
          </a:xfrm>
          <a:custGeom>
            <a:avLst/>
            <a:gdLst>
              <a:gd name="connsiteX0" fmla="*/ 5334786 w 5723503"/>
              <a:gd name="connsiteY0" fmla="*/ 4202324 h 6079105"/>
              <a:gd name="connsiteX1" fmla="*/ 5477176 w 5723503"/>
              <a:gd name="connsiteY1" fmla="*/ 4202324 h 6079105"/>
              <a:gd name="connsiteX2" fmla="*/ 5477176 w 5723503"/>
              <a:gd name="connsiteY2" fmla="*/ 4342372 h 6079105"/>
              <a:gd name="connsiteX3" fmla="*/ 5334786 w 5723503"/>
              <a:gd name="connsiteY3" fmla="*/ 4202324 h 6079105"/>
              <a:gd name="connsiteX4" fmla="*/ 5549767 w 5723503"/>
              <a:gd name="connsiteY4" fmla="*/ 4201562 h 6079105"/>
              <a:gd name="connsiteX5" fmla="*/ 5692157 w 5723503"/>
              <a:gd name="connsiteY5" fmla="*/ 4201562 h 6079105"/>
              <a:gd name="connsiteX6" fmla="*/ 5692157 w 5723503"/>
              <a:gd name="connsiteY6" fmla="*/ 4341546 h 6079105"/>
              <a:gd name="connsiteX7" fmla="*/ 5549767 w 5723503"/>
              <a:gd name="connsiteY7" fmla="*/ 4201562 h 6079105"/>
              <a:gd name="connsiteX8" fmla="*/ 5305408 w 5723503"/>
              <a:gd name="connsiteY8" fmla="*/ 4195979 h 6079105"/>
              <a:gd name="connsiteX9" fmla="*/ 5304901 w 5723503"/>
              <a:gd name="connsiteY9" fmla="*/ 4202324 h 6079105"/>
              <a:gd name="connsiteX10" fmla="*/ 5476923 w 5723503"/>
              <a:gd name="connsiteY10" fmla="*/ 4370991 h 6079105"/>
              <a:gd name="connsiteX11" fmla="*/ 5483269 w 5723503"/>
              <a:gd name="connsiteY11" fmla="*/ 4370483 h 6079105"/>
              <a:gd name="connsiteX12" fmla="*/ 5483078 w 5723503"/>
              <a:gd name="connsiteY12" fmla="*/ 4195979 h 6079105"/>
              <a:gd name="connsiteX13" fmla="*/ 5520960 w 5723503"/>
              <a:gd name="connsiteY13" fmla="*/ 4195154 h 6079105"/>
              <a:gd name="connsiteX14" fmla="*/ 5520452 w 5723503"/>
              <a:gd name="connsiteY14" fmla="*/ 4201499 h 6079105"/>
              <a:gd name="connsiteX15" fmla="*/ 5691904 w 5723503"/>
              <a:gd name="connsiteY15" fmla="*/ 4370230 h 6079105"/>
              <a:gd name="connsiteX16" fmla="*/ 5698249 w 5723503"/>
              <a:gd name="connsiteY16" fmla="*/ 4369785 h 6079105"/>
              <a:gd name="connsiteX17" fmla="*/ 5698630 w 5723503"/>
              <a:gd name="connsiteY17" fmla="*/ 4195154 h 6079105"/>
              <a:gd name="connsiteX18" fmla="*/ 5333264 w 5723503"/>
              <a:gd name="connsiteY18" fmla="*/ 3985811 h 6079105"/>
              <a:gd name="connsiteX19" fmla="*/ 5475654 w 5723503"/>
              <a:gd name="connsiteY19" fmla="*/ 3985811 h 6079105"/>
              <a:gd name="connsiteX20" fmla="*/ 5475654 w 5723503"/>
              <a:gd name="connsiteY20" fmla="*/ 4125795 h 6079105"/>
              <a:gd name="connsiteX21" fmla="*/ 5333264 w 5723503"/>
              <a:gd name="connsiteY21" fmla="*/ 3985811 h 6079105"/>
              <a:gd name="connsiteX22" fmla="*/ 5548181 w 5723503"/>
              <a:gd name="connsiteY22" fmla="*/ 3985050 h 6079105"/>
              <a:gd name="connsiteX23" fmla="*/ 5690571 w 5723503"/>
              <a:gd name="connsiteY23" fmla="*/ 3985050 h 6079105"/>
              <a:gd name="connsiteX24" fmla="*/ 5690571 w 5723503"/>
              <a:gd name="connsiteY24" fmla="*/ 4124971 h 6079105"/>
              <a:gd name="connsiteX25" fmla="*/ 5548181 w 5723503"/>
              <a:gd name="connsiteY25" fmla="*/ 3985050 h 6079105"/>
              <a:gd name="connsiteX26" fmla="*/ 5303885 w 5723503"/>
              <a:gd name="connsiteY26" fmla="*/ 3979466 h 6079105"/>
              <a:gd name="connsiteX27" fmla="*/ 5303251 w 5723503"/>
              <a:gd name="connsiteY27" fmla="*/ 3985748 h 6079105"/>
              <a:gd name="connsiteX28" fmla="*/ 5475210 w 5723503"/>
              <a:gd name="connsiteY28" fmla="*/ 4154415 h 6079105"/>
              <a:gd name="connsiteX29" fmla="*/ 5481555 w 5723503"/>
              <a:gd name="connsiteY29" fmla="*/ 4153971 h 6079105"/>
              <a:gd name="connsiteX30" fmla="*/ 5481555 w 5723503"/>
              <a:gd name="connsiteY30" fmla="*/ 3979466 h 6079105"/>
              <a:gd name="connsiteX31" fmla="*/ 5518866 w 5723503"/>
              <a:gd name="connsiteY31" fmla="*/ 3978705 h 6079105"/>
              <a:gd name="connsiteX32" fmla="*/ 5518612 w 5723503"/>
              <a:gd name="connsiteY32" fmla="*/ 3985050 h 6079105"/>
              <a:gd name="connsiteX33" fmla="*/ 5690190 w 5723503"/>
              <a:gd name="connsiteY33" fmla="*/ 4153717 h 6079105"/>
              <a:gd name="connsiteX34" fmla="*/ 5696536 w 5723503"/>
              <a:gd name="connsiteY34" fmla="*/ 4153209 h 6079105"/>
              <a:gd name="connsiteX35" fmla="*/ 5696536 w 5723503"/>
              <a:gd name="connsiteY35" fmla="*/ 3978705 h 6079105"/>
              <a:gd name="connsiteX36" fmla="*/ 5336436 w 5723503"/>
              <a:gd name="connsiteY36" fmla="*/ 3771646 h 6079105"/>
              <a:gd name="connsiteX37" fmla="*/ 5478762 w 5723503"/>
              <a:gd name="connsiteY37" fmla="*/ 3771646 h 6079105"/>
              <a:gd name="connsiteX38" fmla="*/ 5478762 w 5723503"/>
              <a:gd name="connsiteY38" fmla="*/ 3911694 h 6079105"/>
              <a:gd name="connsiteX39" fmla="*/ 5336436 w 5723503"/>
              <a:gd name="connsiteY39" fmla="*/ 3771646 h 6079105"/>
              <a:gd name="connsiteX40" fmla="*/ 5551353 w 5723503"/>
              <a:gd name="connsiteY40" fmla="*/ 3770821 h 6079105"/>
              <a:gd name="connsiteX41" fmla="*/ 5693743 w 5723503"/>
              <a:gd name="connsiteY41" fmla="*/ 3770821 h 6079105"/>
              <a:gd name="connsiteX42" fmla="*/ 5693743 w 5723503"/>
              <a:gd name="connsiteY42" fmla="*/ 3910869 h 6079105"/>
              <a:gd name="connsiteX43" fmla="*/ 5551353 w 5723503"/>
              <a:gd name="connsiteY43" fmla="*/ 3770821 h 6079105"/>
              <a:gd name="connsiteX44" fmla="*/ 5306995 w 5723503"/>
              <a:gd name="connsiteY44" fmla="*/ 3765301 h 6079105"/>
              <a:gd name="connsiteX45" fmla="*/ 5306487 w 5723503"/>
              <a:gd name="connsiteY45" fmla="*/ 3771647 h 6079105"/>
              <a:gd name="connsiteX46" fmla="*/ 5478509 w 5723503"/>
              <a:gd name="connsiteY46" fmla="*/ 3940314 h 6079105"/>
              <a:gd name="connsiteX47" fmla="*/ 5484855 w 5723503"/>
              <a:gd name="connsiteY47" fmla="*/ 3939806 h 6079105"/>
              <a:gd name="connsiteX48" fmla="*/ 5484664 w 5723503"/>
              <a:gd name="connsiteY48" fmla="*/ 3765301 h 6079105"/>
              <a:gd name="connsiteX49" fmla="*/ 5521975 w 5723503"/>
              <a:gd name="connsiteY49" fmla="*/ 3764540 h 6079105"/>
              <a:gd name="connsiteX50" fmla="*/ 5521531 w 5723503"/>
              <a:gd name="connsiteY50" fmla="*/ 3770885 h 6079105"/>
              <a:gd name="connsiteX51" fmla="*/ 5693490 w 5723503"/>
              <a:gd name="connsiteY51" fmla="*/ 3939552 h 6079105"/>
              <a:gd name="connsiteX52" fmla="*/ 5699835 w 5723503"/>
              <a:gd name="connsiteY52" fmla="*/ 3939044 h 6079105"/>
              <a:gd name="connsiteX53" fmla="*/ 5699645 w 5723503"/>
              <a:gd name="connsiteY53" fmla="*/ 3764540 h 6079105"/>
              <a:gd name="connsiteX54" fmla="*/ 5334786 w 5723503"/>
              <a:gd name="connsiteY54" fmla="*/ 3555070 h 6079105"/>
              <a:gd name="connsiteX55" fmla="*/ 5477176 w 5723503"/>
              <a:gd name="connsiteY55" fmla="*/ 3555070 h 6079105"/>
              <a:gd name="connsiteX56" fmla="*/ 5477176 w 5723503"/>
              <a:gd name="connsiteY56" fmla="*/ 3695118 h 6079105"/>
              <a:gd name="connsiteX57" fmla="*/ 5334786 w 5723503"/>
              <a:gd name="connsiteY57" fmla="*/ 3555070 h 6079105"/>
              <a:gd name="connsiteX58" fmla="*/ 5549767 w 5723503"/>
              <a:gd name="connsiteY58" fmla="*/ 3554309 h 6079105"/>
              <a:gd name="connsiteX59" fmla="*/ 5692157 w 5723503"/>
              <a:gd name="connsiteY59" fmla="*/ 3554309 h 6079105"/>
              <a:gd name="connsiteX60" fmla="*/ 5692157 w 5723503"/>
              <a:gd name="connsiteY60" fmla="*/ 3694293 h 6079105"/>
              <a:gd name="connsiteX61" fmla="*/ 5549767 w 5723503"/>
              <a:gd name="connsiteY61" fmla="*/ 3554309 h 6079105"/>
              <a:gd name="connsiteX62" fmla="*/ 5305472 w 5723503"/>
              <a:gd name="connsiteY62" fmla="*/ 3548725 h 6079105"/>
              <a:gd name="connsiteX63" fmla="*/ 5304774 w 5723503"/>
              <a:gd name="connsiteY63" fmla="*/ 3555071 h 6079105"/>
              <a:gd name="connsiteX64" fmla="*/ 5476796 w 5723503"/>
              <a:gd name="connsiteY64" fmla="*/ 3723738 h 6079105"/>
              <a:gd name="connsiteX65" fmla="*/ 5483141 w 5723503"/>
              <a:gd name="connsiteY65" fmla="*/ 3723230 h 6079105"/>
              <a:gd name="connsiteX66" fmla="*/ 5483141 w 5723503"/>
              <a:gd name="connsiteY66" fmla="*/ 3548725 h 6079105"/>
              <a:gd name="connsiteX67" fmla="*/ 5520452 w 5723503"/>
              <a:gd name="connsiteY67" fmla="*/ 3547964 h 6079105"/>
              <a:gd name="connsiteX68" fmla="*/ 5520452 w 5723503"/>
              <a:gd name="connsiteY68" fmla="*/ 3554246 h 6079105"/>
              <a:gd name="connsiteX69" fmla="*/ 5691777 w 5723503"/>
              <a:gd name="connsiteY69" fmla="*/ 3722913 h 6079105"/>
              <a:gd name="connsiteX70" fmla="*/ 5698122 w 5723503"/>
              <a:gd name="connsiteY70" fmla="*/ 3722468 h 6079105"/>
              <a:gd name="connsiteX71" fmla="*/ 5698122 w 5723503"/>
              <a:gd name="connsiteY71" fmla="*/ 3547964 h 6079105"/>
              <a:gd name="connsiteX72" fmla="*/ 5337959 w 5723503"/>
              <a:gd name="connsiteY72" fmla="*/ 3340969 h 6079105"/>
              <a:gd name="connsiteX73" fmla="*/ 5480349 w 5723503"/>
              <a:gd name="connsiteY73" fmla="*/ 3340969 h 6079105"/>
              <a:gd name="connsiteX74" fmla="*/ 5480349 w 5723503"/>
              <a:gd name="connsiteY74" fmla="*/ 3480953 h 6079105"/>
              <a:gd name="connsiteX75" fmla="*/ 5337959 w 5723503"/>
              <a:gd name="connsiteY75" fmla="*/ 3340969 h 6079105"/>
              <a:gd name="connsiteX76" fmla="*/ 5552876 w 5723503"/>
              <a:gd name="connsiteY76" fmla="*/ 3340144 h 6079105"/>
              <a:gd name="connsiteX77" fmla="*/ 5695266 w 5723503"/>
              <a:gd name="connsiteY77" fmla="*/ 3340144 h 6079105"/>
              <a:gd name="connsiteX78" fmla="*/ 5695266 w 5723503"/>
              <a:gd name="connsiteY78" fmla="*/ 3480192 h 6079105"/>
              <a:gd name="connsiteX79" fmla="*/ 5552876 w 5723503"/>
              <a:gd name="connsiteY79" fmla="*/ 3340144 h 6079105"/>
              <a:gd name="connsiteX80" fmla="*/ 5308581 w 5723503"/>
              <a:gd name="connsiteY80" fmla="*/ 3334560 h 6079105"/>
              <a:gd name="connsiteX81" fmla="*/ 5308137 w 5723503"/>
              <a:gd name="connsiteY81" fmla="*/ 3340906 h 6079105"/>
              <a:gd name="connsiteX82" fmla="*/ 5480096 w 5723503"/>
              <a:gd name="connsiteY82" fmla="*/ 3509636 h 6079105"/>
              <a:gd name="connsiteX83" fmla="*/ 5486441 w 5723503"/>
              <a:gd name="connsiteY83" fmla="*/ 3509129 h 6079105"/>
              <a:gd name="connsiteX84" fmla="*/ 5486251 w 5723503"/>
              <a:gd name="connsiteY84" fmla="*/ 3334560 h 6079105"/>
              <a:gd name="connsiteX85" fmla="*/ 5523498 w 5723503"/>
              <a:gd name="connsiteY85" fmla="*/ 3333863 h 6079105"/>
              <a:gd name="connsiteX86" fmla="*/ 5522990 w 5723503"/>
              <a:gd name="connsiteY86" fmla="*/ 3340208 h 6079105"/>
              <a:gd name="connsiteX87" fmla="*/ 5695013 w 5723503"/>
              <a:gd name="connsiteY87" fmla="*/ 3508875 h 6079105"/>
              <a:gd name="connsiteX88" fmla="*/ 5701358 w 5723503"/>
              <a:gd name="connsiteY88" fmla="*/ 3508367 h 6079105"/>
              <a:gd name="connsiteX89" fmla="*/ 5701168 w 5723503"/>
              <a:gd name="connsiteY89" fmla="*/ 3333863 h 6079105"/>
              <a:gd name="connsiteX90" fmla="*/ 0 w 5723503"/>
              <a:gd name="connsiteY90" fmla="*/ 0 h 6079105"/>
              <a:gd name="connsiteX91" fmla="*/ 5723503 w 5723503"/>
              <a:gd name="connsiteY91" fmla="*/ 0 h 6079105"/>
              <a:gd name="connsiteX92" fmla="*/ 5723503 w 5723503"/>
              <a:gd name="connsiteY92" fmla="*/ 6079105 h 6079105"/>
              <a:gd name="connsiteX93" fmla="*/ 0 w 5723503"/>
              <a:gd name="connsiteY93" fmla="*/ 6079105 h 607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723503" h="6079105">
                <a:moveTo>
                  <a:pt x="5334786" y="4202324"/>
                </a:moveTo>
                <a:lnTo>
                  <a:pt x="5477176" y="4202324"/>
                </a:lnTo>
                <a:lnTo>
                  <a:pt x="5477176" y="4342372"/>
                </a:lnTo>
                <a:cubicBezTo>
                  <a:pt x="5456465" y="4274603"/>
                  <a:pt x="5402887" y="4221906"/>
                  <a:pt x="5334786" y="4202324"/>
                </a:cubicBezTo>
                <a:close/>
                <a:moveTo>
                  <a:pt x="5549767" y="4201562"/>
                </a:moveTo>
                <a:lnTo>
                  <a:pt x="5692157" y="4201562"/>
                </a:lnTo>
                <a:lnTo>
                  <a:pt x="5692157" y="4341546"/>
                </a:lnTo>
                <a:cubicBezTo>
                  <a:pt x="5671489" y="4273764"/>
                  <a:pt x="5617889" y="4221069"/>
                  <a:pt x="5549767" y="4201562"/>
                </a:cubicBezTo>
                <a:close/>
                <a:moveTo>
                  <a:pt x="5305408" y="4195979"/>
                </a:moveTo>
                <a:lnTo>
                  <a:pt x="5304901" y="4202324"/>
                </a:lnTo>
                <a:cubicBezTo>
                  <a:pt x="5393001" y="4214782"/>
                  <a:pt x="5462729" y="4283150"/>
                  <a:pt x="5476923" y="4370991"/>
                </a:cubicBezTo>
                <a:lnTo>
                  <a:pt x="5483269" y="4370483"/>
                </a:lnTo>
                <a:lnTo>
                  <a:pt x="5483078" y="4195979"/>
                </a:lnTo>
                <a:close/>
                <a:moveTo>
                  <a:pt x="5520960" y="4195154"/>
                </a:moveTo>
                <a:lnTo>
                  <a:pt x="5520452" y="4201499"/>
                </a:lnTo>
                <a:cubicBezTo>
                  <a:pt x="5608351" y="4214194"/>
                  <a:pt x="5677801" y="4282542"/>
                  <a:pt x="5691904" y="4370230"/>
                </a:cubicBezTo>
                <a:lnTo>
                  <a:pt x="5698249" y="4369785"/>
                </a:lnTo>
                <a:lnTo>
                  <a:pt x="5698630" y="4195154"/>
                </a:lnTo>
                <a:close/>
                <a:moveTo>
                  <a:pt x="5333264" y="3985811"/>
                </a:moveTo>
                <a:lnTo>
                  <a:pt x="5475654" y="3985811"/>
                </a:lnTo>
                <a:lnTo>
                  <a:pt x="5475654" y="4125795"/>
                </a:lnTo>
                <a:cubicBezTo>
                  <a:pt x="5454986" y="4058013"/>
                  <a:pt x="5401386" y="4005318"/>
                  <a:pt x="5333264" y="3985811"/>
                </a:cubicBezTo>
                <a:close/>
                <a:moveTo>
                  <a:pt x="5548181" y="3985050"/>
                </a:moveTo>
                <a:lnTo>
                  <a:pt x="5690571" y="3985050"/>
                </a:lnTo>
                <a:lnTo>
                  <a:pt x="5690571" y="4124971"/>
                </a:lnTo>
                <a:cubicBezTo>
                  <a:pt x="5669824" y="4057251"/>
                  <a:pt x="5616252" y="4004608"/>
                  <a:pt x="5548181" y="3985050"/>
                </a:cubicBezTo>
                <a:close/>
                <a:moveTo>
                  <a:pt x="5303885" y="3979466"/>
                </a:moveTo>
                <a:lnTo>
                  <a:pt x="5303251" y="3985748"/>
                </a:lnTo>
                <a:cubicBezTo>
                  <a:pt x="5391327" y="3998232"/>
                  <a:pt x="5461023" y="4066593"/>
                  <a:pt x="5475210" y="4154415"/>
                </a:cubicBezTo>
                <a:lnTo>
                  <a:pt x="5481555" y="4153971"/>
                </a:lnTo>
                <a:lnTo>
                  <a:pt x="5481555" y="3979466"/>
                </a:lnTo>
                <a:close/>
                <a:moveTo>
                  <a:pt x="5518866" y="3978705"/>
                </a:moveTo>
                <a:lnTo>
                  <a:pt x="5518612" y="3985050"/>
                </a:lnTo>
                <a:cubicBezTo>
                  <a:pt x="5606540" y="3997687"/>
                  <a:pt x="5676048" y="4066015"/>
                  <a:pt x="5690190" y="4153717"/>
                </a:cubicBezTo>
                <a:lnTo>
                  <a:pt x="5696536" y="4153209"/>
                </a:lnTo>
                <a:lnTo>
                  <a:pt x="5696536" y="3978705"/>
                </a:lnTo>
                <a:close/>
                <a:moveTo>
                  <a:pt x="5336436" y="3771646"/>
                </a:moveTo>
                <a:lnTo>
                  <a:pt x="5478762" y="3771646"/>
                </a:lnTo>
                <a:lnTo>
                  <a:pt x="5478762" y="3911694"/>
                </a:lnTo>
                <a:cubicBezTo>
                  <a:pt x="5458064" y="3843940"/>
                  <a:pt x="5404513" y="3791246"/>
                  <a:pt x="5336436" y="3771646"/>
                </a:cubicBezTo>
                <a:close/>
                <a:moveTo>
                  <a:pt x="5551353" y="3770821"/>
                </a:moveTo>
                <a:lnTo>
                  <a:pt x="5693743" y="3770821"/>
                </a:lnTo>
                <a:lnTo>
                  <a:pt x="5693743" y="3910869"/>
                </a:lnTo>
                <a:cubicBezTo>
                  <a:pt x="5673032" y="3843100"/>
                  <a:pt x="5619454" y="3790403"/>
                  <a:pt x="5551353" y="3770821"/>
                </a:cubicBezTo>
                <a:close/>
                <a:moveTo>
                  <a:pt x="5306995" y="3765301"/>
                </a:moveTo>
                <a:lnTo>
                  <a:pt x="5306487" y="3771647"/>
                </a:lnTo>
                <a:cubicBezTo>
                  <a:pt x="5394588" y="3784105"/>
                  <a:pt x="5464315" y="3852472"/>
                  <a:pt x="5478509" y="3940314"/>
                </a:cubicBezTo>
                <a:lnTo>
                  <a:pt x="5484855" y="3939806"/>
                </a:lnTo>
                <a:lnTo>
                  <a:pt x="5484664" y="3765301"/>
                </a:lnTo>
                <a:close/>
                <a:moveTo>
                  <a:pt x="5521975" y="3764540"/>
                </a:moveTo>
                <a:lnTo>
                  <a:pt x="5521531" y="3770885"/>
                </a:lnTo>
                <a:cubicBezTo>
                  <a:pt x="5609607" y="3783369"/>
                  <a:pt x="5679303" y="3851731"/>
                  <a:pt x="5693490" y="3939552"/>
                </a:cubicBezTo>
                <a:lnTo>
                  <a:pt x="5699835" y="3939044"/>
                </a:lnTo>
                <a:lnTo>
                  <a:pt x="5699645" y="3764540"/>
                </a:lnTo>
                <a:close/>
                <a:moveTo>
                  <a:pt x="5334786" y="3555070"/>
                </a:moveTo>
                <a:lnTo>
                  <a:pt x="5477176" y="3555070"/>
                </a:lnTo>
                <a:lnTo>
                  <a:pt x="5477176" y="3695118"/>
                </a:lnTo>
                <a:cubicBezTo>
                  <a:pt x="5456465" y="3627349"/>
                  <a:pt x="5402887" y="3574652"/>
                  <a:pt x="5334786" y="3555070"/>
                </a:cubicBezTo>
                <a:close/>
                <a:moveTo>
                  <a:pt x="5549767" y="3554309"/>
                </a:moveTo>
                <a:lnTo>
                  <a:pt x="5692157" y="3554309"/>
                </a:lnTo>
                <a:lnTo>
                  <a:pt x="5692157" y="3694293"/>
                </a:lnTo>
                <a:cubicBezTo>
                  <a:pt x="5671489" y="3626511"/>
                  <a:pt x="5617889" y="3573816"/>
                  <a:pt x="5549767" y="3554309"/>
                </a:cubicBezTo>
                <a:close/>
                <a:moveTo>
                  <a:pt x="5305472" y="3548725"/>
                </a:moveTo>
                <a:lnTo>
                  <a:pt x="5304774" y="3555071"/>
                </a:lnTo>
                <a:cubicBezTo>
                  <a:pt x="5392874" y="3567529"/>
                  <a:pt x="5462602" y="3635896"/>
                  <a:pt x="5476796" y="3723738"/>
                </a:cubicBezTo>
                <a:lnTo>
                  <a:pt x="5483141" y="3723230"/>
                </a:lnTo>
                <a:lnTo>
                  <a:pt x="5483141" y="3548725"/>
                </a:lnTo>
                <a:close/>
                <a:moveTo>
                  <a:pt x="5520452" y="3547964"/>
                </a:moveTo>
                <a:lnTo>
                  <a:pt x="5520452" y="3554246"/>
                </a:lnTo>
                <a:cubicBezTo>
                  <a:pt x="5608282" y="3566984"/>
                  <a:pt x="5677664" y="3635289"/>
                  <a:pt x="5691777" y="3722913"/>
                </a:cubicBezTo>
                <a:lnTo>
                  <a:pt x="5698122" y="3722468"/>
                </a:lnTo>
                <a:lnTo>
                  <a:pt x="5698122" y="3547964"/>
                </a:lnTo>
                <a:close/>
                <a:moveTo>
                  <a:pt x="5337959" y="3340969"/>
                </a:moveTo>
                <a:lnTo>
                  <a:pt x="5480349" y="3340969"/>
                </a:lnTo>
                <a:lnTo>
                  <a:pt x="5480349" y="3480953"/>
                </a:lnTo>
                <a:cubicBezTo>
                  <a:pt x="5459620" y="3413209"/>
                  <a:pt x="5406045" y="3360539"/>
                  <a:pt x="5337959" y="3340969"/>
                </a:cubicBezTo>
                <a:close/>
                <a:moveTo>
                  <a:pt x="5552876" y="3340144"/>
                </a:moveTo>
                <a:lnTo>
                  <a:pt x="5695266" y="3340144"/>
                </a:lnTo>
                <a:lnTo>
                  <a:pt x="5695266" y="3480192"/>
                </a:lnTo>
                <a:cubicBezTo>
                  <a:pt x="5674555" y="3412423"/>
                  <a:pt x="5620977" y="3359726"/>
                  <a:pt x="5552876" y="3340144"/>
                </a:cubicBezTo>
                <a:close/>
                <a:moveTo>
                  <a:pt x="5308581" y="3334560"/>
                </a:moveTo>
                <a:lnTo>
                  <a:pt x="5308137" y="3340906"/>
                </a:lnTo>
                <a:cubicBezTo>
                  <a:pt x="5396233" y="3353397"/>
                  <a:pt x="5465934" y="3421790"/>
                  <a:pt x="5480096" y="3509636"/>
                </a:cubicBezTo>
                <a:lnTo>
                  <a:pt x="5486441" y="3509129"/>
                </a:lnTo>
                <a:lnTo>
                  <a:pt x="5486251" y="3334560"/>
                </a:lnTo>
                <a:close/>
                <a:moveTo>
                  <a:pt x="5523498" y="3333863"/>
                </a:moveTo>
                <a:lnTo>
                  <a:pt x="5522990" y="3340208"/>
                </a:lnTo>
                <a:cubicBezTo>
                  <a:pt x="5611091" y="3352666"/>
                  <a:pt x="5680819" y="3421034"/>
                  <a:pt x="5695013" y="3508875"/>
                </a:cubicBezTo>
                <a:lnTo>
                  <a:pt x="5701358" y="3508367"/>
                </a:lnTo>
                <a:lnTo>
                  <a:pt x="5701168" y="3333863"/>
                </a:lnTo>
                <a:close/>
                <a:moveTo>
                  <a:pt x="0" y="0"/>
                </a:moveTo>
                <a:lnTo>
                  <a:pt x="5723503" y="0"/>
                </a:lnTo>
                <a:lnTo>
                  <a:pt x="5723503" y="6079105"/>
                </a:lnTo>
                <a:lnTo>
                  <a:pt x="0" y="6079105"/>
                </a:lnTo>
                <a:close/>
              </a:path>
            </a:pathLst>
          </a:custGeom>
          <a:solidFill>
            <a:schemeClr val="bg2"/>
          </a:solidFill>
        </p:spPr>
        <p:txBody>
          <a:bodyPr wrap="square">
            <a:noAutofit/>
          </a:bodyPr>
          <a:lstStyle>
            <a:lvl1pPr marL="0" indent="0">
              <a:buNone/>
              <a:defRPr/>
            </a:lvl1pPr>
          </a:lstStyle>
          <a:p>
            <a:r>
              <a:rPr lang="zh-CN" altLang="en-US"/>
              <a:t>单击图标添加图片</a:t>
            </a:r>
            <a:endParaRPr lang="en-GB"/>
          </a:p>
        </p:txBody>
      </p:sp>
      <p:grpSp>
        <p:nvGrpSpPr>
          <p:cNvPr id="25" name="Group 24">
            <a:extLst>
              <a:ext uri="{FF2B5EF4-FFF2-40B4-BE49-F238E27FC236}">
                <a16:creationId xmlns:a16="http://schemas.microsoft.com/office/drawing/2014/main" id="{38E0DD39-24FC-AE4A-B94A-C42AB36CC1B7}"/>
              </a:ext>
            </a:extLst>
          </p:cNvPr>
          <p:cNvGrpSpPr/>
          <p:nvPr userDrawn="1"/>
        </p:nvGrpSpPr>
        <p:grpSpPr>
          <a:xfrm>
            <a:off x="6057785" y="3509736"/>
            <a:ext cx="593202" cy="975172"/>
            <a:chOff x="6110794" y="3712667"/>
            <a:chExt cx="604094" cy="1022367"/>
          </a:xfrm>
        </p:grpSpPr>
        <p:sp>
          <p:nvSpPr>
            <p:cNvPr id="26" name="Freeform 5">
              <a:extLst>
                <a:ext uri="{FF2B5EF4-FFF2-40B4-BE49-F238E27FC236}">
                  <a16:creationId xmlns:a16="http://schemas.microsoft.com/office/drawing/2014/main" id="{49978BDD-C6D6-E346-A9BF-0B2D9F39C175}"/>
                </a:ext>
              </a:extLst>
            </p:cNvPr>
            <p:cNvSpPr>
              <a:spLocks/>
            </p:cNvSpPr>
            <p:nvPr/>
          </p:nvSpPr>
          <p:spPr bwMode="auto">
            <a:xfrm>
              <a:off x="6541123"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6">
              <a:extLst>
                <a:ext uri="{FF2B5EF4-FFF2-40B4-BE49-F238E27FC236}">
                  <a16:creationId xmlns:a16="http://schemas.microsoft.com/office/drawing/2014/main" id="{A96E66DD-FA9B-E349-A02B-B02BD88A5B71}"/>
                </a:ext>
              </a:extLst>
            </p:cNvPr>
            <p:cNvSpPr>
              <a:spLocks/>
            </p:cNvSpPr>
            <p:nvPr/>
          </p:nvSpPr>
          <p:spPr bwMode="auto">
            <a:xfrm>
              <a:off x="6326542"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7">
              <a:extLst>
                <a:ext uri="{FF2B5EF4-FFF2-40B4-BE49-F238E27FC236}">
                  <a16:creationId xmlns:a16="http://schemas.microsoft.com/office/drawing/2014/main" id="{0BED5851-F849-E24E-95C6-51A56A1EAAE1}"/>
                </a:ext>
              </a:extLst>
            </p:cNvPr>
            <p:cNvSpPr>
              <a:spLocks/>
            </p:cNvSpPr>
            <p:nvPr/>
          </p:nvSpPr>
          <p:spPr bwMode="auto">
            <a:xfrm>
              <a:off x="6110794" y="371266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10">
              <a:extLst>
                <a:ext uri="{FF2B5EF4-FFF2-40B4-BE49-F238E27FC236}">
                  <a16:creationId xmlns:a16="http://schemas.microsoft.com/office/drawing/2014/main" id="{4E532B9F-6985-4441-A777-C3F92A34A1C6}"/>
                </a:ext>
              </a:extLst>
            </p:cNvPr>
            <p:cNvSpPr>
              <a:spLocks/>
            </p:cNvSpPr>
            <p:nvPr/>
          </p:nvSpPr>
          <p:spPr bwMode="auto">
            <a:xfrm>
              <a:off x="6541123"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5"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11">
              <a:extLst>
                <a:ext uri="{FF2B5EF4-FFF2-40B4-BE49-F238E27FC236}">
                  <a16:creationId xmlns:a16="http://schemas.microsoft.com/office/drawing/2014/main" id="{D0FECB11-A712-D749-8E29-7C09F9ABC2AC}"/>
                </a:ext>
              </a:extLst>
            </p:cNvPr>
            <p:cNvSpPr>
              <a:spLocks/>
            </p:cNvSpPr>
            <p:nvPr/>
          </p:nvSpPr>
          <p:spPr bwMode="auto">
            <a:xfrm>
              <a:off x="6326542"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2">
              <a:extLst>
                <a:ext uri="{FF2B5EF4-FFF2-40B4-BE49-F238E27FC236}">
                  <a16:creationId xmlns:a16="http://schemas.microsoft.com/office/drawing/2014/main" id="{7AFEB51D-BF86-0246-A2F2-F5C22BB1869A}"/>
                </a:ext>
              </a:extLst>
            </p:cNvPr>
            <p:cNvSpPr>
              <a:spLocks/>
            </p:cNvSpPr>
            <p:nvPr/>
          </p:nvSpPr>
          <p:spPr bwMode="auto">
            <a:xfrm>
              <a:off x="6110794" y="3926040"/>
              <a:ext cx="173765" cy="170014"/>
            </a:xfrm>
            <a:custGeom>
              <a:avLst/>
              <a:gdLst>
                <a:gd name="T0" fmla="*/ 361 w 361"/>
                <a:gd name="T1" fmla="*/ 362 h 362"/>
                <a:gd name="T2" fmla="*/ 0 w 361"/>
                <a:gd name="T3" fmla="*/ 0 h 362"/>
                <a:gd name="T4" fmla="*/ 361 w 361"/>
                <a:gd name="T5" fmla="*/ 0 h 362"/>
                <a:gd name="T6" fmla="*/ 361 w 361"/>
                <a:gd name="T7" fmla="*/ 362 h 362"/>
              </a:gdLst>
              <a:ahLst/>
              <a:cxnLst>
                <a:cxn ang="0">
                  <a:pos x="T0" y="T1"/>
                </a:cxn>
                <a:cxn ang="0">
                  <a:pos x="T2" y="T3"/>
                </a:cxn>
                <a:cxn ang="0">
                  <a:pos x="T4" y="T5"/>
                </a:cxn>
                <a:cxn ang="0">
                  <a:pos x="T6" y="T7"/>
                </a:cxn>
              </a:cxnLst>
              <a:rect l="0" t="0" r="r" b="b"/>
              <a:pathLst>
                <a:path w="361" h="362">
                  <a:moveTo>
                    <a:pt x="361" y="362"/>
                  </a:moveTo>
                  <a:cubicBezTo>
                    <a:pt x="332" y="176"/>
                    <a:pt x="186" y="29"/>
                    <a:pt x="0" y="0"/>
                  </a:cubicBezTo>
                  <a:cubicBezTo>
                    <a:pt x="361" y="0"/>
                    <a:pt x="361" y="0"/>
                    <a:pt x="361" y="0"/>
                  </a:cubicBezTo>
                  <a:lnTo>
                    <a:pt x="361" y="36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15">
              <a:extLst>
                <a:ext uri="{FF2B5EF4-FFF2-40B4-BE49-F238E27FC236}">
                  <a16:creationId xmlns:a16="http://schemas.microsoft.com/office/drawing/2014/main" id="{3D1B6517-4291-0D49-865E-755AA0F3D0A0}"/>
                </a:ext>
              </a:extLst>
            </p:cNvPr>
            <p:cNvSpPr>
              <a:spLocks/>
            </p:cNvSpPr>
            <p:nvPr/>
          </p:nvSpPr>
          <p:spPr bwMode="auto">
            <a:xfrm>
              <a:off x="6541123"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32">
              <a:extLst>
                <a:ext uri="{FF2B5EF4-FFF2-40B4-BE49-F238E27FC236}">
                  <a16:creationId xmlns:a16="http://schemas.microsoft.com/office/drawing/2014/main" id="{59B0FCA4-8AFD-B642-906B-F5222B92BE36}"/>
                </a:ext>
              </a:extLst>
            </p:cNvPr>
            <p:cNvSpPr>
              <a:spLocks/>
            </p:cNvSpPr>
            <p:nvPr/>
          </p:nvSpPr>
          <p:spPr bwMode="auto">
            <a:xfrm>
              <a:off x="6326542"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3">
              <a:extLst>
                <a:ext uri="{FF2B5EF4-FFF2-40B4-BE49-F238E27FC236}">
                  <a16:creationId xmlns:a16="http://schemas.microsoft.com/office/drawing/2014/main" id="{EBDD0B13-0DE3-7146-98EA-91D20B7A1FBC}"/>
                </a:ext>
              </a:extLst>
            </p:cNvPr>
            <p:cNvSpPr>
              <a:spLocks/>
            </p:cNvSpPr>
            <p:nvPr/>
          </p:nvSpPr>
          <p:spPr bwMode="auto">
            <a:xfrm>
              <a:off x="6110794" y="4139414"/>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8"/>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
              <a:extLst>
                <a:ext uri="{FF2B5EF4-FFF2-40B4-BE49-F238E27FC236}">
                  <a16:creationId xmlns:a16="http://schemas.microsoft.com/office/drawing/2014/main" id="{9496EABF-F658-AC4D-AE40-621EDD04F1BC}"/>
                </a:ext>
              </a:extLst>
            </p:cNvPr>
            <p:cNvSpPr>
              <a:spLocks/>
            </p:cNvSpPr>
            <p:nvPr/>
          </p:nvSpPr>
          <p:spPr bwMode="auto">
            <a:xfrm>
              <a:off x="6541123"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
              <a:extLst>
                <a:ext uri="{FF2B5EF4-FFF2-40B4-BE49-F238E27FC236}">
                  <a16:creationId xmlns:a16="http://schemas.microsoft.com/office/drawing/2014/main" id="{41EEB260-02BE-7F4E-B46B-04B5A9453900}"/>
                </a:ext>
              </a:extLst>
            </p:cNvPr>
            <p:cNvSpPr>
              <a:spLocks/>
            </p:cNvSpPr>
            <p:nvPr/>
          </p:nvSpPr>
          <p:spPr bwMode="auto">
            <a:xfrm>
              <a:off x="6326542"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2">
              <a:extLst>
                <a:ext uri="{FF2B5EF4-FFF2-40B4-BE49-F238E27FC236}">
                  <a16:creationId xmlns:a16="http://schemas.microsoft.com/office/drawing/2014/main" id="{95BDCD68-13DD-4649-9A16-558E7BD975CA}"/>
                </a:ext>
              </a:extLst>
            </p:cNvPr>
            <p:cNvSpPr>
              <a:spLocks/>
            </p:cNvSpPr>
            <p:nvPr/>
          </p:nvSpPr>
          <p:spPr bwMode="auto">
            <a:xfrm>
              <a:off x="6110794" y="4566161"/>
              <a:ext cx="173765" cy="168873"/>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6"/>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5">
              <a:extLst>
                <a:ext uri="{FF2B5EF4-FFF2-40B4-BE49-F238E27FC236}">
                  <a16:creationId xmlns:a16="http://schemas.microsoft.com/office/drawing/2014/main" id="{9AC229A1-06B0-4846-ACB3-26E7B3FF7EE5}"/>
                </a:ext>
              </a:extLst>
            </p:cNvPr>
            <p:cNvSpPr>
              <a:spLocks/>
            </p:cNvSpPr>
            <p:nvPr/>
          </p:nvSpPr>
          <p:spPr bwMode="auto">
            <a:xfrm>
              <a:off x="6541123"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5"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6">
              <a:extLst>
                <a:ext uri="{FF2B5EF4-FFF2-40B4-BE49-F238E27FC236}">
                  <a16:creationId xmlns:a16="http://schemas.microsoft.com/office/drawing/2014/main" id="{CE8EB986-BC20-D74F-A600-F58016D26EF7}"/>
                </a:ext>
              </a:extLst>
            </p:cNvPr>
            <p:cNvSpPr>
              <a:spLocks/>
            </p:cNvSpPr>
            <p:nvPr/>
          </p:nvSpPr>
          <p:spPr bwMode="auto">
            <a:xfrm>
              <a:off x="6326542"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7">
              <a:extLst>
                <a:ext uri="{FF2B5EF4-FFF2-40B4-BE49-F238E27FC236}">
                  <a16:creationId xmlns:a16="http://schemas.microsoft.com/office/drawing/2014/main" id="{E8904A61-0677-0E46-A571-C96981D72556}"/>
                </a:ext>
              </a:extLst>
            </p:cNvPr>
            <p:cNvSpPr>
              <a:spLocks/>
            </p:cNvSpPr>
            <p:nvPr/>
          </p:nvSpPr>
          <p:spPr bwMode="auto">
            <a:xfrm>
              <a:off x="6110794" y="4352787"/>
              <a:ext cx="173765" cy="170014"/>
            </a:xfrm>
            <a:custGeom>
              <a:avLst/>
              <a:gdLst>
                <a:gd name="T0" fmla="*/ 361 w 361"/>
                <a:gd name="T1" fmla="*/ 361 h 361"/>
                <a:gd name="T2" fmla="*/ 0 w 361"/>
                <a:gd name="T3" fmla="*/ 0 h 361"/>
                <a:gd name="T4" fmla="*/ 361 w 361"/>
                <a:gd name="T5" fmla="*/ 0 h 361"/>
                <a:gd name="T6" fmla="*/ 361 w 361"/>
                <a:gd name="T7" fmla="*/ 361 h 361"/>
              </a:gdLst>
              <a:ahLst/>
              <a:cxnLst>
                <a:cxn ang="0">
                  <a:pos x="T0" y="T1"/>
                </a:cxn>
                <a:cxn ang="0">
                  <a:pos x="T2" y="T3"/>
                </a:cxn>
                <a:cxn ang="0">
                  <a:pos x="T4" y="T5"/>
                </a:cxn>
                <a:cxn ang="0">
                  <a:pos x="T6" y="T7"/>
                </a:cxn>
              </a:cxnLst>
              <a:rect l="0" t="0" r="r" b="b"/>
              <a:pathLst>
                <a:path w="361" h="361">
                  <a:moveTo>
                    <a:pt x="361" y="361"/>
                  </a:moveTo>
                  <a:cubicBezTo>
                    <a:pt x="332" y="175"/>
                    <a:pt x="186" y="29"/>
                    <a:pt x="0" y="0"/>
                  </a:cubicBezTo>
                  <a:cubicBezTo>
                    <a:pt x="361" y="0"/>
                    <a:pt x="361" y="0"/>
                    <a:pt x="361" y="0"/>
                  </a:cubicBezTo>
                  <a:lnTo>
                    <a:pt x="361" y="361"/>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00720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vider w/o im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dirty="0"/>
          </a:p>
        </p:txBody>
      </p:sp>
      <p:sp>
        <p:nvSpPr>
          <p:cNvPr id="24" name="Title 1">
            <a:extLst>
              <a:ext uri="{FF2B5EF4-FFF2-40B4-BE49-F238E27FC236}">
                <a16:creationId xmlns:a16="http://schemas.microsoft.com/office/drawing/2014/main" id="{81B0651E-9135-824D-AF58-78D1394793C7}"/>
              </a:ext>
            </a:extLst>
          </p:cNvPr>
          <p:cNvSpPr>
            <a:spLocks noGrp="1"/>
          </p:cNvSpPr>
          <p:nvPr>
            <p:ph type="title"/>
          </p:nvPr>
        </p:nvSpPr>
        <p:spPr>
          <a:xfrm>
            <a:off x="1341620" y="2907462"/>
            <a:ext cx="9512652" cy="480131"/>
          </a:xfrm>
        </p:spPr>
        <p:txBody>
          <a:bodyPr wrap="square" anchor="ctr">
            <a:spAutoFit/>
          </a:bodyPr>
          <a:lstStyle>
            <a:lvl1pPr algn="ctr">
              <a:defRPr/>
            </a:lvl1pPr>
          </a:lstStyle>
          <a:p>
            <a:r>
              <a:rPr lang="zh-CN" altLang="en-US"/>
              <a:t>单击此处编辑母版标题样式</a:t>
            </a:r>
            <a:endParaRPr lang="en-BE" dirty="0"/>
          </a:p>
        </p:txBody>
      </p:sp>
      <p:sp>
        <p:nvSpPr>
          <p:cNvPr id="31" name="Freeform 5">
            <a:extLst>
              <a:ext uri="{FF2B5EF4-FFF2-40B4-BE49-F238E27FC236}">
                <a16:creationId xmlns:a16="http://schemas.microsoft.com/office/drawing/2014/main" id="{611D4F9B-925D-BC43-8260-F404EAE16834}"/>
              </a:ext>
            </a:extLst>
          </p:cNvPr>
          <p:cNvSpPr>
            <a:spLocks noChangeAspect="1"/>
          </p:cNvSpPr>
          <p:nvPr/>
        </p:nvSpPr>
        <p:spPr bwMode="auto">
          <a:xfrm rot="16200000" flipH="1">
            <a:off x="10176099" y="4530825"/>
            <a:ext cx="1613827" cy="1602000"/>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noFill/>
          <a:ln w="12700" cap="flat">
            <a:solidFill>
              <a:schemeClr val="bg2"/>
            </a:solidFill>
            <a:prstDash val="solid"/>
            <a:miter/>
          </a:ln>
        </p:spPr>
        <p:txBody>
          <a:bodyPr vert="horz" wrap="square" lIns="91440" tIns="45720" rIns="91440" bIns="45720" numCol="1" anchor="t" anchorCtr="0" compatLnSpc="1">
            <a:prstTxWarp prst="textNoShape">
              <a:avLst/>
            </a:prstTxWarp>
          </a:bodyPr>
          <a:lstStyle/>
          <a:p>
            <a:endParaRPr lang="en-GB"/>
          </a:p>
        </p:txBody>
      </p:sp>
      <p:sp>
        <p:nvSpPr>
          <p:cNvPr id="33" name="Freeform 5">
            <a:extLst>
              <a:ext uri="{FF2B5EF4-FFF2-40B4-BE49-F238E27FC236}">
                <a16:creationId xmlns:a16="http://schemas.microsoft.com/office/drawing/2014/main" id="{F92E0807-C455-0743-B8C5-86D84226E6F7}"/>
              </a:ext>
            </a:extLst>
          </p:cNvPr>
          <p:cNvSpPr>
            <a:spLocks/>
          </p:cNvSpPr>
          <p:nvPr/>
        </p:nvSpPr>
        <p:spPr bwMode="auto">
          <a:xfrm rot="5400000" flipH="1">
            <a:off x="411759" y="393358"/>
            <a:ext cx="1608013" cy="1596229"/>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5">
            <a:extLst>
              <a:ext uri="{FF2B5EF4-FFF2-40B4-BE49-F238E27FC236}">
                <a16:creationId xmlns:a16="http://schemas.microsoft.com/office/drawing/2014/main" id="{8A9B772A-1FCC-5840-8809-70296571989A}"/>
              </a:ext>
            </a:extLst>
          </p:cNvPr>
          <p:cNvSpPr>
            <a:spLocks noChangeAspect="1"/>
          </p:cNvSpPr>
          <p:nvPr userDrawn="1"/>
        </p:nvSpPr>
        <p:spPr bwMode="auto">
          <a:xfrm rot="16200000" flipH="1">
            <a:off x="10176099" y="4530825"/>
            <a:ext cx="1613827" cy="1602000"/>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noFill/>
          <a:ln w="12700" cap="flat">
            <a:solidFill>
              <a:schemeClr val="bg2"/>
            </a:solidFill>
            <a:prstDash val="solid"/>
            <a:miter/>
          </a:ln>
        </p:spPr>
        <p:txBody>
          <a:bodyPr vert="horz" wrap="square" lIns="91440" tIns="45720" rIns="91440" bIns="45720" numCol="1" anchor="t" anchorCtr="0" compatLnSpc="1">
            <a:prstTxWarp prst="textNoShape">
              <a:avLst/>
            </a:prstTxWarp>
          </a:bodyPr>
          <a:lstStyle/>
          <a:p>
            <a:endParaRPr lang="en-GB"/>
          </a:p>
        </p:txBody>
      </p:sp>
      <p:sp>
        <p:nvSpPr>
          <p:cNvPr id="7" name="Freeform 5">
            <a:extLst>
              <a:ext uri="{FF2B5EF4-FFF2-40B4-BE49-F238E27FC236}">
                <a16:creationId xmlns:a16="http://schemas.microsoft.com/office/drawing/2014/main" id="{916ADB33-3EE3-BC40-B2BB-6240F9D25656}"/>
              </a:ext>
            </a:extLst>
          </p:cNvPr>
          <p:cNvSpPr>
            <a:spLocks/>
          </p:cNvSpPr>
          <p:nvPr userDrawn="1"/>
        </p:nvSpPr>
        <p:spPr bwMode="auto">
          <a:xfrm rot="5400000" flipH="1">
            <a:off x="411759" y="393358"/>
            <a:ext cx="1608013" cy="1596229"/>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4985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tatement grey">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9BE75F46-D81E-5447-B33A-EACD35F4465F}"/>
              </a:ext>
            </a:extLst>
          </p:cNvPr>
          <p:cNvSpPr/>
          <p:nvPr/>
        </p:nvSpPr>
        <p:spPr>
          <a:xfrm>
            <a:off x="2754754" y="0"/>
            <a:ext cx="9437246" cy="6858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sz="1400" dirty="0">
              <a:solidFill>
                <a:schemeClr val="accent1"/>
              </a:solidFill>
            </a:endParaRPr>
          </a:p>
        </p:txBody>
      </p:sp>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407988" y="3561700"/>
            <a:ext cx="4401079" cy="867930"/>
          </a:xfrm>
        </p:spPr>
        <p:txBody>
          <a:bodyPr wrap="square" rIns="36000" anchor="b">
            <a:spAutoFit/>
          </a:bodyPr>
          <a:lstStyle>
            <a:lvl1pPr algn="l">
              <a:defRPr sz="2800">
                <a:solidFill>
                  <a:schemeClr val="accent1"/>
                </a:solidFill>
                <a:latin typeface="+mj-lt"/>
              </a:defRPr>
            </a:lvl1pPr>
          </a:lstStyle>
          <a:p>
            <a:r>
              <a:rPr lang="zh-CN" altLang="en-US"/>
              <a:t>单击此处编辑母版标题样式</a:t>
            </a:r>
            <a:endParaRPr lang="en-BE" dirty="0"/>
          </a:p>
        </p:txBody>
      </p:sp>
      <p:sp>
        <p:nvSpPr>
          <p:cNvPr id="8" name="TextBox 7">
            <a:extLst>
              <a:ext uri="{FF2B5EF4-FFF2-40B4-BE49-F238E27FC236}">
                <a16:creationId xmlns:a16="http://schemas.microsoft.com/office/drawing/2014/main" id="{6203A404-0F09-EF45-8852-06F3E2AD4882}"/>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dirty="0">
              <a:solidFill>
                <a:schemeClr val="tx1"/>
              </a:solidFill>
            </a:endParaRPr>
          </a:p>
        </p:txBody>
      </p:sp>
      <p:grpSp>
        <p:nvGrpSpPr>
          <p:cNvPr id="9" name="Group 8">
            <a:extLst>
              <a:ext uri="{FF2B5EF4-FFF2-40B4-BE49-F238E27FC236}">
                <a16:creationId xmlns:a16="http://schemas.microsoft.com/office/drawing/2014/main" id="{0FC533E8-0B08-D64D-8FCE-2D0B39A69DEC}"/>
              </a:ext>
            </a:extLst>
          </p:cNvPr>
          <p:cNvGrpSpPr/>
          <p:nvPr/>
        </p:nvGrpSpPr>
        <p:grpSpPr>
          <a:xfrm>
            <a:off x="11862848" y="1678073"/>
            <a:ext cx="230832" cy="3501854"/>
            <a:chOff x="0" y="1980381"/>
            <a:chExt cx="230832" cy="3501854"/>
          </a:xfrm>
        </p:grpSpPr>
        <p:sp>
          <p:nvSpPr>
            <p:cNvPr id="10" name="TextBox 9">
              <a:extLst>
                <a:ext uri="{FF2B5EF4-FFF2-40B4-BE49-F238E27FC236}">
                  <a16:creationId xmlns:a16="http://schemas.microsoft.com/office/drawing/2014/main" id="{A3CA3DE5-6942-A749-A150-0E5FC8B1F6D8}"/>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11" name="Straight Connector 10">
              <a:extLst>
                <a:ext uri="{FF2B5EF4-FFF2-40B4-BE49-F238E27FC236}">
                  <a16:creationId xmlns:a16="http://schemas.microsoft.com/office/drawing/2014/main" id="{5BFB9D5E-1F4F-BD43-96B2-14BE29E6ACAB}"/>
                </a:ext>
              </a:extLst>
            </p:cNvPr>
            <p:cNvCxnSpPr>
              <a:cxnSpLocks/>
            </p:cNvCxnSpPr>
            <p:nvPr/>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24F16A9-2DDD-E64B-AEDC-9D691F0A36EC}"/>
                </a:ext>
              </a:extLst>
            </p:cNvPr>
            <p:cNvCxnSpPr>
              <a:cxnSpLocks/>
            </p:cNvCxnSpPr>
            <p:nvPr/>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
        <p:nvSpPr>
          <p:cNvPr id="13" name="Freeform 12">
            <a:extLst>
              <a:ext uri="{FF2B5EF4-FFF2-40B4-BE49-F238E27FC236}">
                <a16:creationId xmlns:a16="http://schemas.microsoft.com/office/drawing/2014/main" id="{7405B570-EC49-2E40-BBA3-BB0B3B4A3C3D}"/>
              </a:ext>
            </a:extLst>
          </p:cNvPr>
          <p:cNvSpPr/>
          <p:nvPr userDrawn="1"/>
        </p:nvSpPr>
        <p:spPr>
          <a:xfrm>
            <a:off x="2754754" y="0"/>
            <a:ext cx="9437246" cy="6858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BE" sz="1400" dirty="0">
              <a:solidFill>
                <a:schemeClr val="accent1"/>
              </a:solidFill>
            </a:endParaRPr>
          </a:p>
        </p:txBody>
      </p:sp>
      <p:sp>
        <p:nvSpPr>
          <p:cNvPr id="14" name="TextBox 13">
            <a:extLst>
              <a:ext uri="{FF2B5EF4-FFF2-40B4-BE49-F238E27FC236}">
                <a16:creationId xmlns:a16="http://schemas.microsoft.com/office/drawing/2014/main" id="{36D093DF-9983-5846-8381-21EFC2ED42C0}"/>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dirty="0">
              <a:solidFill>
                <a:schemeClr val="tx1"/>
              </a:solidFill>
            </a:endParaRPr>
          </a:p>
        </p:txBody>
      </p:sp>
      <p:grpSp>
        <p:nvGrpSpPr>
          <p:cNvPr id="15" name="Group 14">
            <a:extLst>
              <a:ext uri="{FF2B5EF4-FFF2-40B4-BE49-F238E27FC236}">
                <a16:creationId xmlns:a16="http://schemas.microsoft.com/office/drawing/2014/main" id="{704A1A51-9814-4F49-9090-80D63DD82094}"/>
              </a:ext>
            </a:extLst>
          </p:cNvPr>
          <p:cNvGrpSpPr/>
          <p:nvPr userDrawn="1"/>
        </p:nvGrpSpPr>
        <p:grpSpPr>
          <a:xfrm>
            <a:off x="11862848" y="1678073"/>
            <a:ext cx="230832" cy="3501854"/>
            <a:chOff x="0" y="1980381"/>
            <a:chExt cx="230832" cy="3501854"/>
          </a:xfrm>
        </p:grpSpPr>
        <p:sp>
          <p:nvSpPr>
            <p:cNvPr id="16" name="TextBox 15">
              <a:extLst>
                <a:ext uri="{FF2B5EF4-FFF2-40B4-BE49-F238E27FC236}">
                  <a16:creationId xmlns:a16="http://schemas.microsoft.com/office/drawing/2014/main" id="{35E9D15B-3E97-FA45-B6C2-2EAAB2887DDB}"/>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17" name="Straight Connector 16">
              <a:extLst>
                <a:ext uri="{FF2B5EF4-FFF2-40B4-BE49-F238E27FC236}">
                  <a16:creationId xmlns:a16="http://schemas.microsoft.com/office/drawing/2014/main" id="{A1D66FE1-B512-FC44-B5CE-F154EBDED2C7}"/>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0966C4C-B1F3-B24B-B96E-580B2F4F0468}"/>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13859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atement blue">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0E266A10-7698-4D46-92BA-27C0C79F17B1}"/>
              </a:ext>
            </a:extLst>
          </p:cNvPr>
          <p:cNvGrpSpPr>
            <a:grpSpLocks noChangeAspect="1"/>
          </p:cNvGrpSpPr>
          <p:nvPr/>
        </p:nvGrpSpPr>
        <p:grpSpPr bwMode="auto">
          <a:xfrm>
            <a:off x="5406017" y="0"/>
            <a:ext cx="6792334" cy="6856413"/>
            <a:chOff x="4398" y="1002"/>
            <a:chExt cx="3286" cy="3317"/>
          </a:xfrm>
        </p:grpSpPr>
        <p:sp>
          <p:nvSpPr>
            <p:cNvPr id="11" name="AutoShape 3">
              <a:extLst>
                <a:ext uri="{FF2B5EF4-FFF2-40B4-BE49-F238E27FC236}">
                  <a16:creationId xmlns:a16="http://schemas.microsoft.com/office/drawing/2014/main" id="{0BE617A9-07A3-CC4C-9365-E1631F85F9F1}"/>
                </a:ext>
              </a:extLst>
            </p:cNvPr>
            <p:cNvSpPr>
              <a:spLocks noChangeAspect="1" noChangeArrowheads="1" noTextEdit="1"/>
            </p:cNvSpPr>
            <p:nvPr/>
          </p:nvSpPr>
          <p:spPr bwMode="auto">
            <a:xfrm>
              <a:off x="4398" y="1002"/>
              <a:ext cx="3286" cy="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5">
              <a:extLst>
                <a:ext uri="{FF2B5EF4-FFF2-40B4-BE49-F238E27FC236}">
                  <a16:creationId xmlns:a16="http://schemas.microsoft.com/office/drawing/2014/main" id="{38728E5D-8F91-E54F-A979-AD7FAF48DD54}"/>
                </a:ext>
              </a:extLst>
            </p:cNvPr>
            <p:cNvSpPr>
              <a:spLocks/>
            </p:cNvSpPr>
            <p:nvPr/>
          </p:nvSpPr>
          <p:spPr bwMode="auto">
            <a:xfrm>
              <a:off x="4397" y="1002"/>
              <a:ext cx="3286" cy="3318"/>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407988" y="3188935"/>
            <a:ext cx="8110369" cy="480131"/>
          </a:xfrm>
        </p:spPr>
        <p:txBody>
          <a:bodyPr wrap="square" rIns="36000" anchor="ctr">
            <a:spAutoFit/>
          </a:bodyPr>
          <a:lstStyle>
            <a:lvl1pPr algn="l">
              <a:defRPr sz="2800">
                <a:solidFill>
                  <a:schemeClr val="accent1"/>
                </a:solidFill>
                <a:latin typeface="+mj-lt"/>
              </a:defRPr>
            </a:lvl1pPr>
          </a:lstStyle>
          <a:p>
            <a:r>
              <a:rPr lang="zh-CN" altLang="en-US"/>
              <a:t>单击此处编辑母版标题样式</a:t>
            </a:r>
            <a:endParaRPr lang="en-BE" dirty="0"/>
          </a:p>
        </p:txBody>
      </p:sp>
      <p:sp>
        <p:nvSpPr>
          <p:cNvPr id="4" name="TextBox 3">
            <a:extLst>
              <a:ext uri="{FF2B5EF4-FFF2-40B4-BE49-F238E27FC236}">
                <a16:creationId xmlns:a16="http://schemas.microsoft.com/office/drawing/2014/main" id="{85F6C02A-E300-8E44-8EC3-A6F88D9E23D8}"/>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bg1"/>
                </a:solidFill>
              </a:rPr>
              <a:pPr lvl="0" algn="ctr"/>
              <a:t>‹#›</a:t>
            </a:fld>
            <a:endParaRPr lang="en-US" sz="800" dirty="0">
              <a:solidFill>
                <a:schemeClr val="bg1"/>
              </a:solidFill>
            </a:endParaRPr>
          </a:p>
        </p:txBody>
      </p:sp>
      <p:grpSp>
        <p:nvGrpSpPr>
          <p:cNvPr id="5" name="Group 4">
            <a:extLst>
              <a:ext uri="{FF2B5EF4-FFF2-40B4-BE49-F238E27FC236}">
                <a16:creationId xmlns:a16="http://schemas.microsoft.com/office/drawing/2014/main" id="{A80B588B-769A-964C-B04A-A0A39F4A1B54}"/>
              </a:ext>
            </a:extLst>
          </p:cNvPr>
          <p:cNvGrpSpPr/>
          <p:nvPr/>
        </p:nvGrpSpPr>
        <p:grpSpPr>
          <a:xfrm>
            <a:off x="11862848" y="1678073"/>
            <a:ext cx="230832" cy="3501854"/>
            <a:chOff x="0" y="1980381"/>
            <a:chExt cx="230832" cy="3501854"/>
          </a:xfrm>
        </p:grpSpPr>
        <p:sp>
          <p:nvSpPr>
            <p:cNvPr id="6" name="TextBox 5">
              <a:extLst>
                <a:ext uri="{FF2B5EF4-FFF2-40B4-BE49-F238E27FC236}">
                  <a16:creationId xmlns:a16="http://schemas.microsoft.com/office/drawing/2014/main" id="{764AEB60-2887-4E4F-BABA-6F7DA040CBD2}"/>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bg1"/>
                  </a:solidFill>
                </a:rPr>
                <a:t>Proprietary and Confidential Property of UCB</a:t>
              </a:r>
              <a:endParaRPr lang="en-BE" sz="900" dirty="0">
                <a:solidFill>
                  <a:schemeClr val="bg1"/>
                </a:solidFill>
              </a:endParaRPr>
            </a:p>
          </p:txBody>
        </p:sp>
        <p:cxnSp>
          <p:nvCxnSpPr>
            <p:cNvPr id="8" name="Straight Connector 7">
              <a:extLst>
                <a:ext uri="{FF2B5EF4-FFF2-40B4-BE49-F238E27FC236}">
                  <a16:creationId xmlns:a16="http://schemas.microsoft.com/office/drawing/2014/main" id="{EE612709-CECD-664B-BF5B-67A0B0C29783}"/>
                </a:ext>
              </a:extLst>
            </p:cNvPr>
            <p:cNvCxnSpPr>
              <a:cxnSpLocks/>
            </p:cNvCxnSpPr>
            <p:nvPr/>
          </p:nvCxnSpPr>
          <p:spPr>
            <a:xfrm>
              <a:off x="115416" y="1980381"/>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2285A0B-2510-8548-8DA1-BF2F0AAAE870}"/>
                </a:ext>
              </a:extLst>
            </p:cNvPr>
            <p:cNvCxnSpPr>
              <a:cxnSpLocks/>
            </p:cNvCxnSpPr>
            <p:nvPr/>
          </p:nvCxnSpPr>
          <p:spPr>
            <a:xfrm>
              <a:off x="115416" y="5008716"/>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3" name="Group 4">
            <a:extLst>
              <a:ext uri="{FF2B5EF4-FFF2-40B4-BE49-F238E27FC236}">
                <a16:creationId xmlns:a16="http://schemas.microsoft.com/office/drawing/2014/main" id="{802F1EE5-42E6-5746-B0CD-42F46A5A0611}"/>
              </a:ext>
            </a:extLst>
          </p:cNvPr>
          <p:cNvGrpSpPr>
            <a:grpSpLocks noChangeAspect="1"/>
          </p:cNvGrpSpPr>
          <p:nvPr userDrawn="1"/>
        </p:nvGrpSpPr>
        <p:grpSpPr bwMode="auto">
          <a:xfrm>
            <a:off x="5406017" y="0"/>
            <a:ext cx="6792334" cy="6856413"/>
            <a:chOff x="4398" y="1002"/>
            <a:chExt cx="3286" cy="3317"/>
          </a:xfrm>
        </p:grpSpPr>
        <p:sp>
          <p:nvSpPr>
            <p:cNvPr id="14" name="AutoShape 3">
              <a:extLst>
                <a:ext uri="{FF2B5EF4-FFF2-40B4-BE49-F238E27FC236}">
                  <a16:creationId xmlns:a16="http://schemas.microsoft.com/office/drawing/2014/main" id="{8B80C5A6-2526-5249-97C0-C743314F8488}"/>
                </a:ext>
              </a:extLst>
            </p:cNvPr>
            <p:cNvSpPr>
              <a:spLocks noChangeAspect="1" noChangeArrowheads="1" noTextEdit="1"/>
            </p:cNvSpPr>
            <p:nvPr userDrawn="1"/>
          </p:nvSpPr>
          <p:spPr bwMode="auto">
            <a:xfrm>
              <a:off x="4398" y="1002"/>
              <a:ext cx="3286" cy="3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5">
              <a:extLst>
                <a:ext uri="{FF2B5EF4-FFF2-40B4-BE49-F238E27FC236}">
                  <a16:creationId xmlns:a16="http://schemas.microsoft.com/office/drawing/2014/main" id="{0DFC4E2F-F685-F34F-97B1-6ABAA001EAE8}"/>
                </a:ext>
              </a:extLst>
            </p:cNvPr>
            <p:cNvSpPr>
              <a:spLocks/>
            </p:cNvSpPr>
            <p:nvPr userDrawn="1"/>
          </p:nvSpPr>
          <p:spPr bwMode="auto">
            <a:xfrm>
              <a:off x="4397" y="1002"/>
              <a:ext cx="3286" cy="3318"/>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6" name="TextBox 15">
            <a:extLst>
              <a:ext uri="{FF2B5EF4-FFF2-40B4-BE49-F238E27FC236}">
                <a16:creationId xmlns:a16="http://schemas.microsoft.com/office/drawing/2014/main" id="{5879C9E3-8642-7E41-B078-9D6810971079}"/>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bg1"/>
                </a:solidFill>
              </a:rPr>
              <a:pPr lvl="0" algn="ctr"/>
              <a:t>‹#›</a:t>
            </a:fld>
            <a:endParaRPr lang="en-US" sz="800" dirty="0">
              <a:solidFill>
                <a:schemeClr val="bg1"/>
              </a:solidFill>
            </a:endParaRPr>
          </a:p>
        </p:txBody>
      </p:sp>
      <p:grpSp>
        <p:nvGrpSpPr>
          <p:cNvPr id="17" name="Group 16">
            <a:extLst>
              <a:ext uri="{FF2B5EF4-FFF2-40B4-BE49-F238E27FC236}">
                <a16:creationId xmlns:a16="http://schemas.microsoft.com/office/drawing/2014/main" id="{94D28F05-7DD6-5641-A261-DA047E7E96FC}"/>
              </a:ext>
            </a:extLst>
          </p:cNvPr>
          <p:cNvGrpSpPr/>
          <p:nvPr userDrawn="1"/>
        </p:nvGrpSpPr>
        <p:grpSpPr>
          <a:xfrm>
            <a:off x="11862848" y="1678073"/>
            <a:ext cx="230832" cy="3501854"/>
            <a:chOff x="0" y="1980381"/>
            <a:chExt cx="230832" cy="3501854"/>
          </a:xfrm>
        </p:grpSpPr>
        <p:sp>
          <p:nvSpPr>
            <p:cNvPr id="18" name="TextBox 17">
              <a:extLst>
                <a:ext uri="{FF2B5EF4-FFF2-40B4-BE49-F238E27FC236}">
                  <a16:creationId xmlns:a16="http://schemas.microsoft.com/office/drawing/2014/main" id="{CF17DD44-1000-FB4A-8A5B-548BF0709366}"/>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bg1"/>
                  </a:solidFill>
                </a:rPr>
                <a:t>Proprietary and Confidential Property of UCB</a:t>
              </a:r>
              <a:endParaRPr lang="en-BE" sz="900" dirty="0">
                <a:solidFill>
                  <a:schemeClr val="bg1"/>
                </a:solidFill>
              </a:endParaRPr>
            </a:p>
          </p:txBody>
        </p:sp>
        <p:cxnSp>
          <p:nvCxnSpPr>
            <p:cNvPr id="19" name="Straight Connector 18">
              <a:extLst>
                <a:ext uri="{FF2B5EF4-FFF2-40B4-BE49-F238E27FC236}">
                  <a16:creationId xmlns:a16="http://schemas.microsoft.com/office/drawing/2014/main" id="{579DE366-DE1A-3D4A-9169-7A39E1393D4B}"/>
                </a:ext>
              </a:extLst>
            </p:cNvPr>
            <p:cNvCxnSpPr>
              <a:cxnSpLocks/>
            </p:cNvCxnSpPr>
            <p:nvPr userDrawn="1"/>
          </p:nvCxnSpPr>
          <p:spPr>
            <a:xfrm>
              <a:off x="115416" y="1980381"/>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0298EF5-07A8-0246-9E7D-DBA68C87E479}"/>
                </a:ext>
              </a:extLst>
            </p:cNvPr>
            <p:cNvCxnSpPr>
              <a:cxnSpLocks/>
            </p:cNvCxnSpPr>
            <p:nvPr userDrawn="1"/>
          </p:nvCxnSpPr>
          <p:spPr>
            <a:xfrm>
              <a:off x="115416" y="5008716"/>
              <a:ext cx="0" cy="47351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4131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End slide w image">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407988" y="4058657"/>
            <a:ext cx="4401079" cy="867930"/>
          </a:xfrm>
        </p:spPr>
        <p:txBody>
          <a:bodyPr wrap="square" rIns="36000" anchor="b">
            <a:spAutoFit/>
          </a:bodyPr>
          <a:lstStyle>
            <a:lvl1pPr algn="l">
              <a:defRPr sz="2800">
                <a:solidFill>
                  <a:schemeClr val="accent1"/>
                </a:solidFill>
                <a:latin typeface="+mj-lt"/>
              </a:defRPr>
            </a:lvl1pPr>
          </a:lstStyle>
          <a:p>
            <a:r>
              <a:rPr lang="zh-CN" altLang="en-US"/>
              <a:t>单击此处编辑母版标题样式</a:t>
            </a:r>
            <a:endParaRPr lang="en-BE" dirty="0"/>
          </a:p>
        </p:txBody>
      </p:sp>
      <p:sp>
        <p:nvSpPr>
          <p:cNvPr id="59" name="Subtitle 2">
            <a:extLst>
              <a:ext uri="{FF2B5EF4-FFF2-40B4-BE49-F238E27FC236}">
                <a16:creationId xmlns:a16="http://schemas.microsoft.com/office/drawing/2014/main" id="{2182F8AD-1FB7-254D-B9E0-A4E8BB5B9E59}"/>
              </a:ext>
            </a:extLst>
          </p:cNvPr>
          <p:cNvSpPr>
            <a:spLocks noGrp="1"/>
          </p:cNvSpPr>
          <p:nvPr>
            <p:ph type="subTitle" idx="1"/>
          </p:nvPr>
        </p:nvSpPr>
        <p:spPr>
          <a:xfrm>
            <a:off x="407988" y="5018662"/>
            <a:ext cx="4401079" cy="338554"/>
          </a:xfrm>
        </p:spPr>
        <p:txBody>
          <a:bodyPr wrap="square" rIns="36000">
            <a:spAutoFit/>
          </a:bodyPr>
          <a:lstStyle>
            <a:lvl1pPr marL="0" indent="0" algn="l">
              <a:lnSpc>
                <a:spcPct val="100000"/>
              </a:lnSpc>
              <a:spcBef>
                <a:spcPts val="0"/>
              </a:spcBef>
              <a:buNone/>
              <a:defRPr sz="160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BE" dirty="0"/>
          </a:p>
        </p:txBody>
      </p:sp>
      <p:sp>
        <p:nvSpPr>
          <p:cNvPr id="14" name="Picture Placeholder 13">
            <a:extLst>
              <a:ext uri="{FF2B5EF4-FFF2-40B4-BE49-F238E27FC236}">
                <a16:creationId xmlns:a16="http://schemas.microsoft.com/office/drawing/2014/main" id="{6AE4611C-9F5D-A942-8DF3-4440110899E0}"/>
              </a:ext>
            </a:extLst>
          </p:cNvPr>
          <p:cNvSpPr>
            <a:spLocks noGrp="1"/>
          </p:cNvSpPr>
          <p:nvPr>
            <p:ph type="pic" sz="quarter" idx="10"/>
          </p:nvPr>
        </p:nvSpPr>
        <p:spPr>
          <a:xfrm>
            <a:off x="2754754" y="0"/>
            <a:ext cx="9437246" cy="6858000"/>
          </a:xfrm>
          <a:custGeom>
            <a:avLst/>
            <a:gdLst>
              <a:gd name="connsiteX0" fmla="*/ 0 w 9437246"/>
              <a:gd name="connsiteY0" fmla="*/ 0 h 6833052"/>
              <a:gd name="connsiteX1" fmla="*/ 9437246 w 9437246"/>
              <a:gd name="connsiteY1" fmla="*/ 0 h 6833052"/>
              <a:gd name="connsiteX2" fmla="*/ 9437246 w 9437246"/>
              <a:gd name="connsiteY2" fmla="*/ 6833052 h 6833052"/>
              <a:gd name="connsiteX3" fmla="*/ 9221785 w 9437246"/>
              <a:gd name="connsiteY3" fmla="*/ 6819662 h 6833052"/>
              <a:gd name="connsiteX4" fmla="*/ 78869 w 9437246"/>
              <a:gd name="connsiteY4" fmla="*/ 252510 h 68330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7246" h="6833052">
                <a:moveTo>
                  <a:pt x="0" y="0"/>
                </a:moveTo>
                <a:lnTo>
                  <a:pt x="9437246" y="0"/>
                </a:lnTo>
                <a:lnTo>
                  <a:pt x="9437246" y="6833052"/>
                </a:lnTo>
                <a:lnTo>
                  <a:pt x="9221785" y="6819662"/>
                </a:lnTo>
                <a:cubicBezTo>
                  <a:pt x="4879604" y="6473211"/>
                  <a:pt x="1296735" y="3813340"/>
                  <a:pt x="78869" y="252510"/>
                </a:cubicBezTo>
                <a:close/>
              </a:path>
            </a:pathLst>
          </a:custGeom>
          <a:solidFill>
            <a:schemeClr val="bg1">
              <a:lumMod val="95000"/>
            </a:schemeClr>
          </a:solidFill>
        </p:spPr>
        <p:txBody>
          <a:bodyPr wrap="square" rIns="180000" anchor="ctr">
            <a:noAutofit/>
          </a:bodyPr>
          <a:lstStyle>
            <a:lvl1pPr algn="r">
              <a:defRPr>
                <a:solidFill>
                  <a:schemeClr val="accent1"/>
                </a:solidFill>
              </a:defRPr>
            </a:lvl1pPr>
          </a:lstStyle>
          <a:p>
            <a:r>
              <a:rPr lang="zh-CN" altLang="en-US"/>
              <a:t>单击图标添加图片</a:t>
            </a:r>
            <a:endParaRPr lang="en-BE"/>
          </a:p>
        </p:txBody>
      </p:sp>
      <p:grpSp>
        <p:nvGrpSpPr>
          <p:cNvPr id="5" name="Group 4">
            <a:extLst>
              <a:ext uri="{FF2B5EF4-FFF2-40B4-BE49-F238E27FC236}">
                <a16:creationId xmlns:a16="http://schemas.microsoft.com/office/drawing/2014/main" id="{0AC7B90F-A1C3-0C45-8761-4AC75DE2D92E}"/>
              </a:ext>
            </a:extLst>
          </p:cNvPr>
          <p:cNvGrpSpPr/>
          <p:nvPr userDrawn="1"/>
        </p:nvGrpSpPr>
        <p:grpSpPr>
          <a:xfrm rot="5400000">
            <a:off x="5980584" y="4768552"/>
            <a:ext cx="230832" cy="3501854"/>
            <a:chOff x="0" y="1980381"/>
            <a:chExt cx="230832" cy="3501854"/>
          </a:xfrm>
        </p:grpSpPr>
        <p:sp>
          <p:nvSpPr>
            <p:cNvPr id="6" name="TextBox 5">
              <a:extLst>
                <a:ext uri="{FF2B5EF4-FFF2-40B4-BE49-F238E27FC236}">
                  <a16:creationId xmlns:a16="http://schemas.microsoft.com/office/drawing/2014/main" id="{22ABC181-BB9B-8443-AFB9-3CEAF9B2A04E}"/>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7" name="Straight Connector 6">
              <a:extLst>
                <a:ext uri="{FF2B5EF4-FFF2-40B4-BE49-F238E27FC236}">
                  <a16:creationId xmlns:a16="http://schemas.microsoft.com/office/drawing/2014/main" id="{F6005F7B-9433-394D-8C2A-9AE3DB8C4A3C}"/>
                </a:ext>
              </a:extLst>
            </p:cNvPr>
            <p:cNvCxnSpPr>
              <a:cxnSpLocks/>
            </p:cNvCxnSpPr>
            <p:nvPr/>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9B9F0A8-3F16-874D-ACFB-DF31876D8D97}"/>
                </a:ext>
              </a:extLst>
            </p:cNvPr>
            <p:cNvCxnSpPr>
              <a:cxnSpLocks/>
            </p:cNvCxnSpPr>
            <p:nvPr/>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C273BA04-2628-DF4D-925E-D3A419BC9379}"/>
              </a:ext>
            </a:extLst>
          </p:cNvPr>
          <p:cNvGrpSpPr/>
          <p:nvPr userDrawn="1"/>
        </p:nvGrpSpPr>
        <p:grpSpPr>
          <a:xfrm rot="5400000">
            <a:off x="5980584" y="4768552"/>
            <a:ext cx="230832" cy="3501854"/>
            <a:chOff x="0" y="1980381"/>
            <a:chExt cx="230832" cy="3501854"/>
          </a:xfrm>
        </p:grpSpPr>
        <p:sp>
          <p:nvSpPr>
            <p:cNvPr id="10" name="TextBox 9">
              <a:extLst>
                <a:ext uri="{FF2B5EF4-FFF2-40B4-BE49-F238E27FC236}">
                  <a16:creationId xmlns:a16="http://schemas.microsoft.com/office/drawing/2014/main" id="{6C8F8A42-3A50-064F-B98A-A1873E2098B4}"/>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11" name="Straight Connector 10">
              <a:extLst>
                <a:ext uri="{FF2B5EF4-FFF2-40B4-BE49-F238E27FC236}">
                  <a16:creationId xmlns:a16="http://schemas.microsoft.com/office/drawing/2014/main" id="{63CFF3F5-2232-9A41-BBA6-953E941A00F6}"/>
                </a:ext>
              </a:extLst>
            </p:cNvPr>
            <p:cNvCxnSpPr>
              <a:cxnSpLocks/>
            </p:cNvCxnSpPr>
            <p:nvPr userDrawn="1"/>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303C5E9-A81C-9441-8561-447FAE9A9500}"/>
                </a:ext>
              </a:extLst>
            </p:cNvPr>
            <p:cNvCxnSpPr>
              <a:cxnSpLocks/>
            </p:cNvCxnSpPr>
            <p:nvPr userDrawn="1"/>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86882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End slide logo">
    <p:spTree>
      <p:nvGrpSpPr>
        <p:cNvPr id="1" name=""/>
        <p:cNvGrpSpPr/>
        <p:nvPr/>
      </p:nvGrpSpPr>
      <p:grpSpPr>
        <a:xfrm>
          <a:off x="0" y="0"/>
          <a:ext cx="0" cy="0"/>
          <a:chOff x="0" y="0"/>
          <a:chExt cx="0" cy="0"/>
        </a:xfrm>
      </p:grpSpPr>
      <p:sp>
        <p:nvSpPr>
          <p:cNvPr id="58" name="Title 1">
            <a:extLst>
              <a:ext uri="{FF2B5EF4-FFF2-40B4-BE49-F238E27FC236}">
                <a16:creationId xmlns:a16="http://schemas.microsoft.com/office/drawing/2014/main" id="{DC9685A4-CF88-564B-925B-AF0FD83F6C96}"/>
              </a:ext>
            </a:extLst>
          </p:cNvPr>
          <p:cNvSpPr>
            <a:spLocks noGrp="1"/>
          </p:cNvSpPr>
          <p:nvPr>
            <p:ph type="ctrTitle"/>
          </p:nvPr>
        </p:nvSpPr>
        <p:spPr>
          <a:xfrm>
            <a:off x="1395230" y="4370048"/>
            <a:ext cx="9401540" cy="480131"/>
          </a:xfrm>
        </p:spPr>
        <p:txBody>
          <a:bodyPr wrap="square" rIns="36000" anchor="b">
            <a:normAutofit/>
          </a:bodyPr>
          <a:lstStyle>
            <a:lvl1pPr algn="ctr">
              <a:defRPr sz="2800">
                <a:solidFill>
                  <a:schemeClr val="accent1"/>
                </a:solidFill>
                <a:latin typeface="+mj-lt"/>
              </a:defRPr>
            </a:lvl1pPr>
          </a:lstStyle>
          <a:p>
            <a:r>
              <a:rPr lang="zh-CN" altLang="en-US"/>
              <a:t>单击此处编辑母版标题样式</a:t>
            </a:r>
            <a:endParaRPr lang="en-BE" dirty="0"/>
          </a:p>
        </p:txBody>
      </p:sp>
      <p:sp>
        <p:nvSpPr>
          <p:cNvPr id="59" name="Subtitle 2">
            <a:extLst>
              <a:ext uri="{FF2B5EF4-FFF2-40B4-BE49-F238E27FC236}">
                <a16:creationId xmlns:a16="http://schemas.microsoft.com/office/drawing/2014/main" id="{2182F8AD-1FB7-254D-B9E0-A4E8BB5B9E59}"/>
              </a:ext>
            </a:extLst>
          </p:cNvPr>
          <p:cNvSpPr>
            <a:spLocks noGrp="1"/>
          </p:cNvSpPr>
          <p:nvPr>
            <p:ph type="subTitle" idx="1"/>
          </p:nvPr>
        </p:nvSpPr>
        <p:spPr>
          <a:xfrm>
            <a:off x="1395230" y="4942254"/>
            <a:ext cx="9401540" cy="338554"/>
          </a:xfrm>
        </p:spPr>
        <p:txBody>
          <a:bodyPr wrap="square" rIns="36000" anchor="t">
            <a:spAutoFit/>
          </a:bodyPr>
          <a:lstStyle>
            <a:lvl1pPr marL="0" indent="0" algn="ctr">
              <a:lnSpc>
                <a:spcPct val="100000"/>
              </a:lnSpc>
              <a:spcBef>
                <a:spcPts val="0"/>
              </a:spcBef>
              <a:buNone/>
              <a:defRPr sz="160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en-BE" dirty="0"/>
          </a:p>
        </p:txBody>
      </p:sp>
      <p:grpSp>
        <p:nvGrpSpPr>
          <p:cNvPr id="53" name="Group 52">
            <a:extLst>
              <a:ext uri="{FF2B5EF4-FFF2-40B4-BE49-F238E27FC236}">
                <a16:creationId xmlns:a16="http://schemas.microsoft.com/office/drawing/2014/main" id="{2551F790-BC07-EE40-85F4-EFC68DCF6426}"/>
              </a:ext>
            </a:extLst>
          </p:cNvPr>
          <p:cNvGrpSpPr/>
          <p:nvPr/>
        </p:nvGrpSpPr>
        <p:grpSpPr>
          <a:xfrm rot="5400000">
            <a:off x="5980584" y="4768552"/>
            <a:ext cx="230832" cy="3501854"/>
            <a:chOff x="0" y="1980381"/>
            <a:chExt cx="230832" cy="3501854"/>
          </a:xfrm>
        </p:grpSpPr>
        <p:sp>
          <p:nvSpPr>
            <p:cNvPr id="54" name="TextBox 53">
              <a:extLst>
                <a:ext uri="{FF2B5EF4-FFF2-40B4-BE49-F238E27FC236}">
                  <a16:creationId xmlns:a16="http://schemas.microsoft.com/office/drawing/2014/main" id="{5C170B76-1B60-8A47-8BF2-13B1F51C9FBB}"/>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55" name="Straight Connector 54">
              <a:extLst>
                <a:ext uri="{FF2B5EF4-FFF2-40B4-BE49-F238E27FC236}">
                  <a16:creationId xmlns:a16="http://schemas.microsoft.com/office/drawing/2014/main" id="{000FD983-1E0D-674B-B17D-0D7B767052EA}"/>
                </a:ext>
              </a:extLst>
            </p:cNvPr>
            <p:cNvCxnSpPr>
              <a:cxnSpLocks/>
            </p:cNvCxnSpPr>
            <p:nvPr/>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43A570F-F968-D440-962C-BE1ABFFB5395}"/>
                </a:ext>
              </a:extLst>
            </p:cNvPr>
            <p:cNvCxnSpPr>
              <a:cxnSpLocks/>
            </p:cNvCxnSpPr>
            <p:nvPr/>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 name="Group 101">
            <a:extLst>
              <a:ext uri="{FF2B5EF4-FFF2-40B4-BE49-F238E27FC236}">
                <a16:creationId xmlns:a16="http://schemas.microsoft.com/office/drawing/2014/main" id="{280C577B-C23B-4044-9AF1-0EC1B899CAA0}"/>
              </a:ext>
            </a:extLst>
          </p:cNvPr>
          <p:cNvGrpSpPr/>
          <p:nvPr userDrawn="1"/>
        </p:nvGrpSpPr>
        <p:grpSpPr>
          <a:xfrm rot="5400000">
            <a:off x="5980584" y="4768552"/>
            <a:ext cx="230832" cy="3501854"/>
            <a:chOff x="0" y="1980381"/>
            <a:chExt cx="230832" cy="3501854"/>
          </a:xfrm>
        </p:grpSpPr>
        <p:sp>
          <p:nvSpPr>
            <p:cNvPr id="103" name="TextBox 102">
              <a:extLst>
                <a:ext uri="{FF2B5EF4-FFF2-40B4-BE49-F238E27FC236}">
                  <a16:creationId xmlns:a16="http://schemas.microsoft.com/office/drawing/2014/main" id="{FD82AFBA-CE0D-8C43-A515-0029F8453B96}"/>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104" name="Straight Connector 103">
              <a:extLst>
                <a:ext uri="{FF2B5EF4-FFF2-40B4-BE49-F238E27FC236}">
                  <a16:creationId xmlns:a16="http://schemas.microsoft.com/office/drawing/2014/main" id="{643DD8CF-C116-E147-AC11-19A2AE974BE9}"/>
                </a:ext>
              </a:extLst>
            </p:cNvPr>
            <p:cNvCxnSpPr>
              <a:cxnSpLocks/>
            </p:cNvCxnSpPr>
            <p:nvPr userDrawn="1"/>
          </p:nvCxnSpPr>
          <p:spPr>
            <a:xfrm>
              <a:off x="115416" y="1980381"/>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3304225-C86A-D543-9594-11E50E87A943}"/>
                </a:ext>
              </a:extLst>
            </p:cNvPr>
            <p:cNvCxnSpPr>
              <a:cxnSpLocks/>
            </p:cNvCxnSpPr>
            <p:nvPr userDrawn="1"/>
          </p:nvCxnSpPr>
          <p:spPr>
            <a:xfrm>
              <a:off x="115416" y="5008716"/>
              <a:ext cx="0" cy="4735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06" name="Graphic 105">
            <a:extLst>
              <a:ext uri="{FF2B5EF4-FFF2-40B4-BE49-F238E27FC236}">
                <a16:creationId xmlns:a16="http://schemas.microsoft.com/office/drawing/2014/main" id="{0741A49E-26E7-0344-ABB9-6BCB6B3ED9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95230" y="1043297"/>
            <a:ext cx="9401540" cy="3033678"/>
          </a:xfrm>
          <a:prstGeom prst="rect">
            <a:avLst/>
          </a:prstGeom>
        </p:spPr>
      </p:pic>
    </p:spTree>
    <p:extLst>
      <p:ext uri="{BB962C8B-B14F-4D97-AF65-F5344CB8AC3E}">
        <p14:creationId xmlns:p14="http://schemas.microsoft.com/office/powerpoint/2010/main" val="1027121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hasCustomPrompt="1"/>
          </p:nvPr>
        </p:nvSpPr>
        <p:spPr>
          <a:xfrm>
            <a:off x="426027" y="2948087"/>
            <a:ext cx="1924897" cy="480131"/>
          </a:xfrm>
        </p:spPr>
        <p:txBody>
          <a:bodyPr wrap="square" anchor="ctr">
            <a:spAutoFit/>
          </a:bodyPr>
          <a:lstStyle/>
          <a:p>
            <a:r>
              <a:rPr lang="en-GB"/>
              <a:t>Agenda</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2350924" y="1072444"/>
            <a:ext cx="9415049" cy="4231418"/>
          </a:xfrm>
        </p:spPr>
        <p:txBody>
          <a:bodyPr rIns="72000" anchor="ctr">
            <a:normAutofit/>
          </a:bodyPr>
          <a:lstStyle>
            <a:lvl1pPr marL="342900" indent="-342900">
              <a:buFont typeface="+mj-lt"/>
              <a:buAutoNum type="arabicPeriod"/>
              <a:defRPr sz="1800"/>
            </a:lvl1pPr>
            <a:lvl2pPr marL="800100" indent="-342900">
              <a:buFont typeface="+mj-lt"/>
              <a:buAutoNum type="arabicPeriod"/>
              <a:defRPr sz="1600"/>
            </a:lvl2pPr>
            <a:lvl3pPr>
              <a:buFont typeface="+mj-lt"/>
              <a:buAutoNum type="arabicPeriod"/>
              <a:defRPr sz="1400"/>
            </a:lvl3pPr>
            <a:lvl4pPr>
              <a:buFont typeface="+mj-lt"/>
              <a:buAutoNum type="arabicPeriod"/>
              <a:defRPr sz="1200"/>
            </a:lvl4pPr>
            <a:lvl5pPr>
              <a:buFont typeface="+mj-lt"/>
              <a:buAutoNum type="arabicPeriod"/>
              <a:defRPr sz="1200"/>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pic>
        <p:nvPicPr>
          <p:cNvPr id="11" name="Graphic 10">
            <a:extLst>
              <a:ext uri="{FF2B5EF4-FFF2-40B4-BE49-F238E27FC236}">
                <a16:creationId xmlns:a16="http://schemas.microsoft.com/office/drawing/2014/main" id="{6BAC6D8C-4CD7-404E-803B-9C1856B74D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57" name="Freeform 5">
            <a:extLst>
              <a:ext uri="{FF2B5EF4-FFF2-40B4-BE49-F238E27FC236}">
                <a16:creationId xmlns:a16="http://schemas.microsoft.com/office/drawing/2014/main" id="{34A1DC10-00A7-8F4E-B794-229E5F875B78}"/>
              </a:ext>
            </a:extLst>
          </p:cNvPr>
          <p:cNvSpPr>
            <a:spLocks/>
          </p:cNvSpPr>
          <p:nvPr/>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pic>
        <p:nvPicPr>
          <p:cNvPr id="9" name="Graphic 8">
            <a:extLst>
              <a:ext uri="{FF2B5EF4-FFF2-40B4-BE49-F238E27FC236}">
                <a16:creationId xmlns:a16="http://schemas.microsoft.com/office/drawing/2014/main" id="{99F642E9-70FA-1247-BA86-AF1A80340F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50725" y="5389716"/>
            <a:ext cx="731603" cy="749022"/>
          </a:xfrm>
          <a:prstGeom prst="rect">
            <a:avLst/>
          </a:prstGeom>
        </p:spPr>
      </p:pic>
      <p:sp>
        <p:nvSpPr>
          <p:cNvPr id="10" name="Freeform 5">
            <a:extLst>
              <a:ext uri="{FF2B5EF4-FFF2-40B4-BE49-F238E27FC236}">
                <a16:creationId xmlns:a16="http://schemas.microsoft.com/office/drawing/2014/main" id="{B9E80466-0F67-B749-B46F-1A7900249BBA}"/>
              </a:ext>
            </a:extLst>
          </p:cNvPr>
          <p:cNvSpPr>
            <a:spLocks/>
          </p:cNvSpPr>
          <p:nvPr userDrawn="1"/>
        </p:nvSpPr>
        <p:spPr bwMode="auto">
          <a:xfrm rot="5400000" flipH="1">
            <a:off x="414951" y="390169"/>
            <a:ext cx="737003" cy="731602"/>
          </a:xfrm>
          <a:custGeom>
            <a:avLst/>
            <a:gdLst>
              <a:gd name="T0" fmla="*/ 2544 w 2544"/>
              <a:gd name="T1" fmla="*/ 0 h 2569"/>
              <a:gd name="T2" fmla="*/ 2544 w 2544"/>
              <a:gd name="T3" fmla="*/ 2569 h 2569"/>
              <a:gd name="T4" fmla="*/ 0 w 2544"/>
              <a:gd name="T5" fmla="*/ 2569 h 2569"/>
              <a:gd name="T6" fmla="*/ 2544 w 2544"/>
              <a:gd name="T7" fmla="*/ 0 h 2569"/>
            </a:gdLst>
            <a:ahLst/>
            <a:cxnLst>
              <a:cxn ang="0">
                <a:pos x="T0" y="T1"/>
              </a:cxn>
              <a:cxn ang="0">
                <a:pos x="T2" y="T3"/>
              </a:cxn>
              <a:cxn ang="0">
                <a:pos x="T4" y="T5"/>
              </a:cxn>
              <a:cxn ang="0">
                <a:pos x="T6" y="T7"/>
              </a:cxn>
            </a:cxnLst>
            <a:rect l="0" t="0" r="r" b="b"/>
            <a:pathLst>
              <a:path w="2544" h="2569">
                <a:moveTo>
                  <a:pt x="2544" y="0"/>
                </a:moveTo>
                <a:cubicBezTo>
                  <a:pt x="2544" y="2569"/>
                  <a:pt x="2544" y="2569"/>
                  <a:pt x="2544" y="2569"/>
                </a:cubicBezTo>
                <a:cubicBezTo>
                  <a:pt x="0" y="2569"/>
                  <a:pt x="0" y="2569"/>
                  <a:pt x="0" y="2569"/>
                </a:cubicBezTo>
                <a:cubicBezTo>
                  <a:pt x="1308" y="2365"/>
                  <a:pt x="2342" y="1321"/>
                  <a:pt x="2544" y="0"/>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9525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仅标题">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nchor="t">
            <a:spAutoFit/>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Tree>
    <p:extLst>
      <p:ext uri="{BB962C8B-B14F-4D97-AF65-F5344CB8AC3E}">
        <p14:creationId xmlns:p14="http://schemas.microsoft.com/office/powerpoint/2010/main" val="2395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790385"/>
            <a:ext cx="11339946" cy="400110"/>
          </a:xfrm>
        </p:spPr>
        <p:txBody>
          <a:bodyPr wrap="square" anchor="t">
            <a:sp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365101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rey background">
    <p:bg>
      <p:bgPr>
        <a:solidFill>
          <a:schemeClr val="bg1">
            <a:lumMod val="95000"/>
            <a:alpha val="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246759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oubl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412875"/>
            <a:ext cx="5572101"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193874" y="1412875"/>
            <a:ext cx="5572101" cy="469582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Tree>
    <p:extLst>
      <p:ext uri="{BB962C8B-B14F-4D97-AF65-F5344CB8AC3E}">
        <p14:creationId xmlns:p14="http://schemas.microsoft.com/office/powerpoint/2010/main" val="187916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Double content w 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14D3F-14BD-1040-8A81-A75FE65A7417}"/>
              </a:ext>
            </a:extLst>
          </p:cNvPr>
          <p:cNvSpPr>
            <a:spLocks noGrp="1"/>
          </p:cNvSpPr>
          <p:nvPr>
            <p:ph type="title"/>
          </p:nvPr>
        </p:nvSpPr>
        <p:spPr/>
        <p:txBody>
          <a:bodyPr/>
          <a:lstStyle/>
          <a:p>
            <a:r>
              <a:rPr lang="zh-CN" altLang="en-US"/>
              <a:t>单击此处编辑母版标题样式</a:t>
            </a:r>
            <a:endParaRPr lang="en-BE"/>
          </a:p>
        </p:txBody>
      </p:sp>
      <p:sp>
        <p:nvSpPr>
          <p:cNvPr id="3" name="Footer Placeholder 2">
            <a:extLst>
              <a:ext uri="{FF2B5EF4-FFF2-40B4-BE49-F238E27FC236}">
                <a16:creationId xmlns:a16="http://schemas.microsoft.com/office/drawing/2014/main" id="{FE95B85C-4BCC-D949-9DC0-F6A10AAB5AE8}"/>
              </a:ext>
            </a:extLst>
          </p:cNvPr>
          <p:cNvSpPr>
            <a:spLocks noGrp="1"/>
          </p:cNvSpPr>
          <p:nvPr>
            <p:ph type="ftr" sz="quarter" idx="10"/>
          </p:nvPr>
        </p:nvSpPr>
        <p:spPr/>
        <p:txBody>
          <a:bodyPr/>
          <a:lstStyle/>
          <a:p>
            <a:r>
              <a:rPr lang="en-GB"/>
              <a:t>UCB Team Name [XXXXXXX] - UCB - Approval [XX-XX-XXX] - Approval date [XX Month XXXX] ! GO TO INSERT&gt;HEADER FOOTER to change. </a:t>
            </a:r>
            <a:endParaRPr lang="en-BE"/>
          </a:p>
        </p:txBody>
      </p:sp>
      <p:sp>
        <p:nvSpPr>
          <p:cNvPr id="6" name="Text Placeholder 5">
            <a:extLst>
              <a:ext uri="{FF2B5EF4-FFF2-40B4-BE49-F238E27FC236}">
                <a16:creationId xmlns:a16="http://schemas.microsoft.com/office/drawing/2014/main" id="{B9E147DE-4D05-BB45-A257-0D184DBEC59F}"/>
              </a:ext>
            </a:extLst>
          </p:cNvPr>
          <p:cNvSpPr>
            <a:spLocks noGrp="1"/>
          </p:cNvSpPr>
          <p:nvPr>
            <p:ph type="body" sz="quarter" idx="11" hasCustomPrompt="1"/>
          </p:nvPr>
        </p:nvSpPr>
        <p:spPr>
          <a:xfrm>
            <a:off x="2350924" y="6406168"/>
            <a:ext cx="8829521" cy="110800"/>
          </a:xfrm>
        </p:spPr>
        <p:txBody>
          <a:bodyPr vert="horz" wrap="square" lIns="0" tIns="0" rIns="91440" bIns="0" rtlCol="0" anchor="b">
            <a:spAutoFit/>
          </a:bodyPr>
          <a:lstStyle>
            <a:lvl1pPr marL="0" indent="0">
              <a:buNone/>
              <a:defRPr lang="en-BE" sz="800" dirty="0"/>
            </a:lvl1pPr>
          </a:lstStyle>
          <a:p>
            <a:pPr marL="0" lvl="0"/>
            <a:r>
              <a:rPr lang="en-GB"/>
              <a:t>References</a:t>
            </a:r>
            <a:endParaRPr lang="en-BE"/>
          </a:p>
        </p:txBody>
      </p:sp>
      <p:sp>
        <p:nvSpPr>
          <p:cNvPr id="8" name="Content Placeholder 7">
            <a:extLst>
              <a:ext uri="{FF2B5EF4-FFF2-40B4-BE49-F238E27FC236}">
                <a16:creationId xmlns:a16="http://schemas.microsoft.com/office/drawing/2014/main" id="{E8A45D60-3196-6042-836D-45547787D11C}"/>
              </a:ext>
            </a:extLst>
          </p:cNvPr>
          <p:cNvSpPr>
            <a:spLocks noGrp="1"/>
          </p:cNvSpPr>
          <p:nvPr>
            <p:ph sz="quarter" idx="12"/>
          </p:nvPr>
        </p:nvSpPr>
        <p:spPr>
          <a:xfrm>
            <a:off x="426027" y="1925053"/>
            <a:ext cx="5572101" cy="418364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7" name="Text Placeholder 5">
            <a:extLst>
              <a:ext uri="{FF2B5EF4-FFF2-40B4-BE49-F238E27FC236}">
                <a16:creationId xmlns:a16="http://schemas.microsoft.com/office/drawing/2014/main" id="{B60528AF-2E04-7C46-A0A8-47B612A1F78D}"/>
              </a:ext>
            </a:extLst>
          </p:cNvPr>
          <p:cNvSpPr>
            <a:spLocks noGrp="1"/>
          </p:cNvSpPr>
          <p:nvPr>
            <p:ph type="body" sz="quarter" idx="13"/>
          </p:nvPr>
        </p:nvSpPr>
        <p:spPr>
          <a:xfrm>
            <a:off x="426027" y="821163"/>
            <a:ext cx="11339946" cy="369332"/>
          </a:xfrm>
        </p:spPr>
        <p:txBody>
          <a:bodyPr wrap="square" anchor="t">
            <a:normAutofit/>
          </a:bodyPr>
          <a:lstStyle>
            <a:lvl1pPr marL="0" indent="0">
              <a:lnSpc>
                <a:spcPct val="100000"/>
              </a:lnSpc>
              <a:spcBef>
                <a:spcPts val="0"/>
              </a:spcBef>
              <a:buNone/>
              <a:defRPr sz="20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9" name="Content Placeholder 7">
            <a:extLst>
              <a:ext uri="{FF2B5EF4-FFF2-40B4-BE49-F238E27FC236}">
                <a16:creationId xmlns:a16="http://schemas.microsoft.com/office/drawing/2014/main" id="{968D5CD7-2281-7A4C-9CD7-49CD36C9E00E}"/>
              </a:ext>
            </a:extLst>
          </p:cNvPr>
          <p:cNvSpPr>
            <a:spLocks noGrp="1"/>
          </p:cNvSpPr>
          <p:nvPr>
            <p:ph sz="quarter" idx="14"/>
          </p:nvPr>
        </p:nvSpPr>
        <p:spPr>
          <a:xfrm>
            <a:off x="6193874" y="1925053"/>
            <a:ext cx="5572101" cy="4183647"/>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5" name="Text Placeholder 4">
            <a:extLst>
              <a:ext uri="{FF2B5EF4-FFF2-40B4-BE49-F238E27FC236}">
                <a16:creationId xmlns:a16="http://schemas.microsoft.com/office/drawing/2014/main" id="{3D727D5C-5A0E-0846-8C0F-CCCCCECE26EA}"/>
              </a:ext>
            </a:extLst>
          </p:cNvPr>
          <p:cNvSpPr>
            <a:spLocks noGrp="1"/>
          </p:cNvSpPr>
          <p:nvPr>
            <p:ph type="body" sz="quarter" idx="15"/>
          </p:nvPr>
        </p:nvSpPr>
        <p:spPr>
          <a:xfrm>
            <a:off x="425450" y="1432917"/>
            <a:ext cx="5572101" cy="369332"/>
          </a:xfrm>
        </p:spPr>
        <p:txBody>
          <a:bodyPr wrap="square" anchor="b">
            <a:spAutoFit/>
          </a:bodyPr>
          <a:lstStyle>
            <a:lvl1pPr marL="0" indent="0">
              <a:lnSpc>
                <a:spcPct val="100000"/>
              </a:lnSpc>
              <a:spcBef>
                <a:spcPts val="0"/>
              </a:spcBef>
              <a:buNone/>
              <a:defRPr sz="1800" b="1">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
        <p:nvSpPr>
          <p:cNvPr id="10" name="Text Placeholder 4">
            <a:extLst>
              <a:ext uri="{FF2B5EF4-FFF2-40B4-BE49-F238E27FC236}">
                <a16:creationId xmlns:a16="http://schemas.microsoft.com/office/drawing/2014/main" id="{F3272EEB-918D-1E46-8C24-CD246EDC6A16}"/>
              </a:ext>
            </a:extLst>
          </p:cNvPr>
          <p:cNvSpPr>
            <a:spLocks noGrp="1"/>
          </p:cNvSpPr>
          <p:nvPr>
            <p:ph type="body" sz="quarter" idx="16"/>
          </p:nvPr>
        </p:nvSpPr>
        <p:spPr>
          <a:xfrm>
            <a:off x="6193872" y="1432917"/>
            <a:ext cx="5572101" cy="369332"/>
          </a:xfrm>
        </p:spPr>
        <p:txBody>
          <a:bodyPr wrap="square" anchor="b">
            <a:spAutoFit/>
          </a:bodyPr>
          <a:lstStyle>
            <a:lvl1pPr marL="0" indent="0">
              <a:lnSpc>
                <a:spcPct val="100000"/>
              </a:lnSpc>
              <a:spcBef>
                <a:spcPts val="0"/>
              </a:spcBef>
              <a:buNone/>
              <a:defRPr sz="1800" b="1">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a:t>单击此处编辑母版文本样式</a:t>
            </a:r>
          </a:p>
        </p:txBody>
      </p:sp>
    </p:spTree>
    <p:extLst>
      <p:ext uri="{BB962C8B-B14F-4D97-AF65-F5344CB8AC3E}">
        <p14:creationId xmlns:p14="http://schemas.microsoft.com/office/powerpoint/2010/main" val="208117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image" Target="../media/image6.pn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F351B0E7-635C-4737-9C81-D671C2F30CA8}"/>
              </a:ext>
            </a:extLst>
          </p:cNvPr>
          <p:cNvGraphicFramePr>
            <a:graphicFrameLocks noChangeAspect="1"/>
          </p:cNvGraphicFramePr>
          <p:nvPr userDrawn="1">
            <p:custDataLst>
              <p:tags r:id="rId21"/>
            </p:custDataLst>
            <p:extLst>
              <p:ext uri="{D42A27DB-BD31-4B8C-83A1-F6EECF244321}">
                <p14:modId xmlns:p14="http://schemas.microsoft.com/office/powerpoint/2010/main" val="370480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347" imgH="348" progId="TCLayout.ActiveDocument.1">
                  <p:embed/>
                </p:oleObj>
              </mc:Choice>
              <mc:Fallback>
                <p:oleObj name="think-cell 幻灯片" r:id="rId22" imgW="347" imgH="348" progId="TCLayout.ActiveDocument.1">
                  <p:embed/>
                  <p:pic>
                    <p:nvPicPr>
                      <p:cNvPr id="4" name="对象 3" hidden="1">
                        <a:extLst>
                          <a:ext uri="{FF2B5EF4-FFF2-40B4-BE49-F238E27FC236}">
                            <a16:creationId xmlns:a16="http://schemas.microsoft.com/office/drawing/2014/main" id="{F351B0E7-635C-4737-9C81-D671C2F30CA8}"/>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C61D29F-3B63-0C41-9005-5CD01A30BBB7}"/>
              </a:ext>
            </a:extLst>
          </p:cNvPr>
          <p:cNvSpPr>
            <a:spLocks noGrp="1"/>
          </p:cNvSpPr>
          <p:nvPr>
            <p:ph type="title"/>
          </p:nvPr>
        </p:nvSpPr>
        <p:spPr>
          <a:xfrm>
            <a:off x="426027" y="259160"/>
            <a:ext cx="11339946" cy="480131"/>
          </a:xfrm>
          <a:prstGeom prst="rect">
            <a:avLst/>
          </a:prstGeom>
        </p:spPr>
        <p:txBody>
          <a:bodyPr vert="horz" wrap="square" lIns="0" tIns="45720" rIns="36000" bIns="45720" rtlCol="0" anchor="ctr">
            <a:normAutofit/>
          </a:bodyPr>
          <a:lstStyle/>
          <a:p>
            <a:r>
              <a:rPr lang="zh-CN" altLang="en-US"/>
              <a:t>单击此处编辑母版标题样式</a:t>
            </a:r>
            <a:endParaRPr lang="en-BE"/>
          </a:p>
        </p:txBody>
      </p:sp>
      <p:sp>
        <p:nvSpPr>
          <p:cNvPr id="3" name="Text Placeholder 2">
            <a:extLst>
              <a:ext uri="{FF2B5EF4-FFF2-40B4-BE49-F238E27FC236}">
                <a16:creationId xmlns:a16="http://schemas.microsoft.com/office/drawing/2014/main" id="{A50B2A77-002E-F246-BF88-39274714E891}"/>
              </a:ext>
            </a:extLst>
          </p:cNvPr>
          <p:cNvSpPr>
            <a:spLocks noGrp="1"/>
          </p:cNvSpPr>
          <p:nvPr>
            <p:ph type="body" idx="1"/>
          </p:nvPr>
        </p:nvSpPr>
        <p:spPr>
          <a:xfrm>
            <a:off x="426027" y="1412874"/>
            <a:ext cx="11339946" cy="4688421"/>
          </a:xfrm>
          <a:prstGeom prst="rect">
            <a:avLst/>
          </a:prstGeom>
        </p:spPr>
        <p:txBody>
          <a:bodyPr vert="horz" lIns="0" tIns="45720" rIns="3600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a:p>
        </p:txBody>
      </p:sp>
      <p:sp>
        <p:nvSpPr>
          <p:cNvPr id="5" name="Footer Placeholder 4">
            <a:extLst>
              <a:ext uri="{FF2B5EF4-FFF2-40B4-BE49-F238E27FC236}">
                <a16:creationId xmlns:a16="http://schemas.microsoft.com/office/drawing/2014/main" id="{0695B075-55E6-E84E-866C-52BE98114947}"/>
              </a:ext>
            </a:extLst>
          </p:cNvPr>
          <p:cNvSpPr>
            <a:spLocks noGrp="1"/>
          </p:cNvSpPr>
          <p:nvPr>
            <p:ph type="ftr" sz="quarter" idx="3"/>
          </p:nvPr>
        </p:nvSpPr>
        <p:spPr>
          <a:xfrm>
            <a:off x="2350924" y="6547006"/>
            <a:ext cx="8829521" cy="123111"/>
          </a:xfrm>
          <a:prstGeom prst="rect">
            <a:avLst/>
          </a:prstGeom>
        </p:spPr>
        <p:txBody>
          <a:bodyPr vert="horz" wrap="square" lIns="0" tIns="0" rIns="91440" bIns="0" rtlCol="0" anchor="b">
            <a:spAutoFit/>
          </a:bodyPr>
          <a:lstStyle>
            <a:lvl1pPr algn="l">
              <a:defRPr sz="800">
                <a:solidFill>
                  <a:schemeClr val="tx1"/>
                </a:solidFill>
              </a:defRPr>
            </a:lvl1pPr>
          </a:lstStyle>
          <a:p>
            <a:r>
              <a:rPr lang="en-GB"/>
              <a:t>UCB Team Name [XXXXXXX] - UCB - Approval [XX-XX-XXX] - Approval date [XX Month XXXX] ! GO TO INSERT&gt;HEADER FOOTER to change. </a:t>
            </a:r>
            <a:endParaRPr lang="en-BE"/>
          </a:p>
        </p:txBody>
      </p:sp>
      <p:sp>
        <p:nvSpPr>
          <p:cNvPr id="8" name="TextBox 7">
            <a:extLst>
              <a:ext uri="{FF2B5EF4-FFF2-40B4-BE49-F238E27FC236}">
                <a16:creationId xmlns:a16="http://schemas.microsoft.com/office/drawing/2014/main" id="{20ADD386-04E8-1E4B-B741-6C4A31F96C0D}"/>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a:solidFill>
                <a:schemeClr val="tx1"/>
              </a:solidFill>
            </a:endParaRPr>
          </a:p>
        </p:txBody>
      </p:sp>
      <p:grpSp>
        <p:nvGrpSpPr>
          <p:cNvPr id="103" name="Group 102">
            <a:extLst>
              <a:ext uri="{FF2B5EF4-FFF2-40B4-BE49-F238E27FC236}">
                <a16:creationId xmlns:a16="http://schemas.microsoft.com/office/drawing/2014/main" id="{09175B6F-439F-1744-95F7-CD02CF2ECF7A}"/>
              </a:ext>
            </a:extLst>
          </p:cNvPr>
          <p:cNvGrpSpPr/>
          <p:nvPr/>
        </p:nvGrpSpPr>
        <p:grpSpPr>
          <a:xfrm>
            <a:off x="11862848" y="1678073"/>
            <a:ext cx="230832" cy="3501854"/>
            <a:chOff x="0" y="1980381"/>
            <a:chExt cx="230832" cy="3501854"/>
          </a:xfrm>
        </p:grpSpPr>
        <p:sp>
          <p:nvSpPr>
            <p:cNvPr id="7" name="TextBox 6">
              <a:extLst>
                <a:ext uri="{FF2B5EF4-FFF2-40B4-BE49-F238E27FC236}">
                  <a16:creationId xmlns:a16="http://schemas.microsoft.com/office/drawing/2014/main" id="{C8D38C8F-6981-7742-9398-45A51A6305C7}"/>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101" name="Straight Connector 100">
              <a:extLst>
                <a:ext uri="{FF2B5EF4-FFF2-40B4-BE49-F238E27FC236}">
                  <a16:creationId xmlns:a16="http://schemas.microsoft.com/office/drawing/2014/main" id="{5C49AAAB-10A4-B24C-B52C-AEC6C9A74BC7}"/>
                </a:ext>
              </a:extLst>
            </p:cNvPr>
            <p:cNvCxnSpPr>
              <a:cxnSpLocks/>
            </p:cNvCxnSpPr>
            <p:nvPr/>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8162C43-4515-4348-91AC-1440902B3ADA}"/>
                </a:ext>
              </a:extLst>
            </p:cNvPr>
            <p:cNvCxnSpPr>
              <a:cxnSpLocks/>
            </p:cNvCxnSpPr>
            <p:nvPr/>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1F6D23D7-DF21-ED46-A74A-06BF057117C1}"/>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a:solidFill>
                <a:schemeClr val="tx1"/>
              </a:solidFill>
            </a:endParaRPr>
          </a:p>
        </p:txBody>
      </p:sp>
      <p:grpSp>
        <p:nvGrpSpPr>
          <p:cNvPr id="143" name="Group 142">
            <a:extLst>
              <a:ext uri="{FF2B5EF4-FFF2-40B4-BE49-F238E27FC236}">
                <a16:creationId xmlns:a16="http://schemas.microsoft.com/office/drawing/2014/main" id="{F1226624-0BF6-5646-8268-049F9725E9FB}"/>
              </a:ext>
            </a:extLst>
          </p:cNvPr>
          <p:cNvGrpSpPr/>
          <p:nvPr userDrawn="1"/>
        </p:nvGrpSpPr>
        <p:grpSpPr>
          <a:xfrm>
            <a:off x="11862848" y="1678073"/>
            <a:ext cx="230832" cy="3501854"/>
            <a:chOff x="0" y="1980381"/>
            <a:chExt cx="230832" cy="3501854"/>
          </a:xfrm>
        </p:grpSpPr>
        <p:sp>
          <p:nvSpPr>
            <p:cNvPr id="144" name="TextBox 143">
              <a:extLst>
                <a:ext uri="{FF2B5EF4-FFF2-40B4-BE49-F238E27FC236}">
                  <a16:creationId xmlns:a16="http://schemas.microsoft.com/office/drawing/2014/main" id="{9CBFD0D5-8BAC-F143-BD99-103B596181A0}"/>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a:solidFill>
                    <a:schemeClr val="tx1"/>
                  </a:solidFill>
                </a:rPr>
                <a:t>Proprietary and Confidential Property of UCB</a:t>
              </a:r>
              <a:endParaRPr lang="en-BE" sz="900">
                <a:solidFill>
                  <a:schemeClr val="tx1"/>
                </a:solidFill>
              </a:endParaRPr>
            </a:p>
          </p:txBody>
        </p:sp>
        <p:cxnSp>
          <p:nvCxnSpPr>
            <p:cNvPr id="145" name="Straight Connector 144">
              <a:extLst>
                <a:ext uri="{FF2B5EF4-FFF2-40B4-BE49-F238E27FC236}">
                  <a16:creationId xmlns:a16="http://schemas.microsoft.com/office/drawing/2014/main" id="{5E70CA2F-4C7B-8545-9BBA-F31243FB3A34}"/>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1146C6E-3373-9848-9D55-1E36AD9CF8CC}"/>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49" name="Graphic 148">
            <a:extLst>
              <a:ext uri="{FF2B5EF4-FFF2-40B4-BE49-F238E27FC236}">
                <a16:creationId xmlns:a16="http://schemas.microsoft.com/office/drawing/2014/main" id="{DC6B50E3-022A-B04F-AB85-9FFB8229D599}"/>
              </a:ext>
            </a:extLst>
          </p:cNvPr>
          <p:cNvPicPr>
            <a:picLocks noChangeAspect="1"/>
          </p:cNvPicPr>
          <p:nvPr userDrawn="1"/>
        </p:nvPicPr>
        <p:blipFill>
          <a:blip r:embed="rId24" cstate="print">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270163" y="6213912"/>
            <a:ext cx="1996068" cy="644088"/>
          </a:xfrm>
          <a:prstGeom prst="rect">
            <a:avLst/>
          </a:prstGeom>
        </p:spPr>
      </p:pic>
    </p:spTree>
    <p:extLst>
      <p:ext uri="{BB962C8B-B14F-4D97-AF65-F5344CB8AC3E}">
        <p14:creationId xmlns:p14="http://schemas.microsoft.com/office/powerpoint/2010/main" val="165682019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61D29F-3B63-0C41-9005-5CD01A30BBB7}"/>
              </a:ext>
            </a:extLst>
          </p:cNvPr>
          <p:cNvSpPr>
            <a:spLocks noGrp="1"/>
          </p:cNvSpPr>
          <p:nvPr>
            <p:ph type="title"/>
          </p:nvPr>
        </p:nvSpPr>
        <p:spPr>
          <a:xfrm>
            <a:off x="426027" y="259160"/>
            <a:ext cx="11339946" cy="480131"/>
          </a:xfrm>
          <a:prstGeom prst="rect">
            <a:avLst/>
          </a:prstGeom>
        </p:spPr>
        <p:txBody>
          <a:bodyPr vert="horz" wrap="square" lIns="0" tIns="45720" rIns="36000" bIns="45720" rtlCol="0" anchor="ctr">
            <a:normAutofit/>
          </a:bodyPr>
          <a:lstStyle/>
          <a:p>
            <a:r>
              <a:rPr lang="zh-CN" altLang="en-US"/>
              <a:t>单击此处编辑母版标题样式</a:t>
            </a:r>
            <a:endParaRPr lang="en-BE" dirty="0"/>
          </a:p>
        </p:txBody>
      </p:sp>
      <p:sp>
        <p:nvSpPr>
          <p:cNvPr id="3" name="Text Placeholder 2">
            <a:extLst>
              <a:ext uri="{FF2B5EF4-FFF2-40B4-BE49-F238E27FC236}">
                <a16:creationId xmlns:a16="http://schemas.microsoft.com/office/drawing/2014/main" id="{A50B2A77-002E-F246-BF88-39274714E891}"/>
              </a:ext>
            </a:extLst>
          </p:cNvPr>
          <p:cNvSpPr>
            <a:spLocks noGrp="1"/>
          </p:cNvSpPr>
          <p:nvPr>
            <p:ph type="body" idx="1"/>
          </p:nvPr>
        </p:nvSpPr>
        <p:spPr>
          <a:xfrm>
            <a:off x="426027" y="1412874"/>
            <a:ext cx="11339946" cy="4688421"/>
          </a:xfrm>
          <a:prstGeom prst="rect">
            <a:avLst/>
          </a:prstGeom>
        </p:spPr>
        <p:txBody>
          <a:bodyPr vert="horz" lIns="0" tIns="45720" rIns="3600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BE" dirty="0"/>
          </a:p>
        </p:txBody>
      </p:sp>
      <p:sp>
        <p:nvSpPr>
          <p:cNvPr id="5" name="Footer Placeholder 4">
            <a:extLst>
              <a:ext uri="{FF2B5EF4-FFF2-40B4-BE49-F238E27FC236}">
                <a16:creationId xmlns:a16="http://schemas.microsoft.com/office/drawing/2014/main" id="{0695B075-55E6-E84E-866C-52BE98114947}"/>
              </a:ext>
            </a:extLst>
          </p:cNvPr>
          <p:cNvSpPr>
            <a:spLocks noGrp="1"/>
          </p:cNvSpPr>
          <p:nvPr>
            <p:ph type="ftr" sz="quarter" idx="3"/>
          </p:nvPr>
        </p:nvSpPr>
        <p:spPr>
          <a:xfrm>
            <a:off x="2350924" y="6547006"/>
            <a:ext cx="8829521" cy="123111"/>
          </a:xfrm>
          <a:prstGeom prst="rect">
            <a:avLst/>
          </a:prstGeom>
        </p:spPr>
        <p:txBody>
          <a:bodyPr vert="horz" wrap="square" lIns="0" tIns="0" rIns="91440" bIns="0" rtlCol="0" anchor="b">
            <a:spAutoFit/>
          </a:bodyPr>
          <a:lstStyle>
            <a:lvl1pPr algn="l">
              <a:defRPr sz="800">
                <a:solidFill>
                  <a:schemeClr val="tx1"/>
                </a:solidFill>
              </a:defRPr>
            </a:lvl1pPr>
          </a:lstStyle>
          <a:p>
            <a:r>
              <a:rPr lang="en-GB"/>
              <a:t>UCB Team Name [XXXXXXX] - UCB - Approval [XX-XX-XXX] - Approval date [XX Month XXXX] ! GO TO INSERT&gt;HEADER FOOTER to change. </a:t>
            </a:r>
            <a:endParaRPr lang="en-BE" dirty="0"/>
          </a:p>
        </p:txBody>
      </p:sp>
      <p:sp>
        <p:nvSpPr>
          <p:cNvPr id="8" name="TextBox 7">
            <a:extLst>
              <a:ext uri="{FF2B5EF4-FFF2-40B4-BE49-F238E27FC236}">
                <a16:creationId xmlns:a16="http://schemas.microsoft.com/office/drawing/2014/main" id="{20ADD386-04E8-1E4B-B741-6C4A31F96C0D}"/>
              </a:ext>
            </a:extLst>
          </p:cNvPr>
          <p:cNvSpPr txBox="1"/>
          <p:nvPr/>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dirty="0">
              <a:solidFill>
                <a:schemeClr val="tx1"/>
              </a:solidFill>
            </a:endParaRPr>
          </a:p>
        </p:txBody>
      </p:sp>
      <p:grpSp>
        <p:nvGrpSpPr>
          <p:cNvPr id="103" name="Group 102">
            <a:extLst>
              <a:ext uri="{FF2B5EF4-FFF2-40B4-BE49-F238E27FC236}">
                <a16:creationId xmlns:a16="http://schemas.microsoft.com/office/drawing/2014/main" id="{09175B6F-439F-1744-95F7-CD02CF2ECF7A}"/>
              </a:ext>
            </a:extLst>
          </p:cNvPr>
          <p:cNvGrpSpPr/>
          <p:nvPr/>
        </p:nvGrpSpPr>
        <p:grpSpPr>
          <a:xfrm>
            <a:off x="11862848" y="1678073"/>
            <a:ext cx="230832" cy="3501854"/>
            <a:chOff x="0" y="1980381"/>
            <a:chExt cx="230832" cy="3501854"/>
          </a:xfrm>
        </p:grpSpPr>
        <p:sp>
          <p:nvSpPr>
            <p:cNvPr id="7" name="TextBox 6">
              <a:extLst>
                <a:ext uri="{FF2B5EF4-FFF2-40B4-BE49-F238E27FC236}">
                  <a16:creationId xmlns:a16="http://schemas.microsoft.com/office/drawing/2014/main" id="{C8D38C8F-6981-7742-9398-45A51A6305C7}"/>
                </a:ext>
              </a:extLst>
            </p:cNvPr>
            <p:cNvSpPr txBox="1"/>
            <p:nvPr/>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101" name="Straight Connector 100">
              <a:extLst>
                <a:ext uri="{FF2B5EF4-FFF2-40B4-BE49-F238E27FC236}">
                  <a16:creationId xmlns:a16="http://schemas.microsoft.com/office/drawing/2014/main" id="{5C49AAAB-10A4-B24C-B52C-AEC6C9A74BC7}"/>
                </a:ext>
              </a:extLst>
            </p:cNvPr>
            <p:cNvCxnSpPr>
              <a:cxnSpLocks/>
            </p:cNvCxnSpPr>
            <p:nvPr/>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8162C43-4515-4348-91AC-1440902B3ADA}"/>
                </a:ext>
              </a:extLst>
            </p:cNvPr>
            <p:cNvCxnSpPr>
              <a:cxnSpLocks/>
            </p:cNvCxnSpPr>
            <p:nvPr/>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sp>
        <p:nvSpPr>
          <p:cNvPr id="53" name="TextBox 52">
            <a:extLst>
              <a:ext uri="{FF2B5EF4-FFF2-40B4-BE49-F238E27FC236}">
                <a16:creationId xmlns:a16="http://schemas.microsoft.com/office/drawing/2014/main" id="{1F6D23D7-DF21-ED46-A74A-06BF057117C1}"/>
              </a:ext>
            </a:extLst>
          </p:cNvPr>
          <p:cNvSpPr txBox="1"/>
          <p:nvPr userDrawn="1"/>
        </p:nvSpPr>
        <p:spPr bwMode="gray">
          <a:xfrm>
            <a:off x="11765972" y="6547006"/>
            <a:ext cx="426027" cy="123111"/>
          </a:xfrm>
          <a:prstGeom prst="rect">
            <a:avLst/>
          </a:prstGeom>
        </p:spPr>
        <p:txBody>
          <a:bodyPr vert="horz" wrap="square" lIns="0" tIns="0" rIns="0" bIns="0" rtlCol="0" anchor="b">
            <a:spAutoFit/>
          </a:bodyPr>
          <a:lstStyle>
            <a:defPPr>
              <a:defRPr lang="en-BE"/>
            </a:defPPr>
            <a:lvl1pPr algn="ctr">
              <a:defRPr sz="900">
                <a:solidFill>
                  <a:schemeClr val="tx1">
                    <a:tint val="75000"/>
                  </a:schemeClr>
                </a:solidFill>
              </a:defRPr>
            </a:lvl1pPr>
          </a:lstStyle>
          <a:p>
            <a:pPr lvl="0" algn="ctr"/>
            <a:fld id="{6C5AF65D-6854-49AF-ABC5-48B5BA0EA842}" type="slidenum">
              <a:rPr lang="en-US" sz="800" smtClean="0">
                <a:solidFill>
                  <a:schemeClr val="tx1"/>
                </a:solidFill>
              </a:rPr>
              <a:pPr lvl="0" algn="ctr"/>
              <a:t>‹#›</a:t>
            </a:fld>
            <a:endParaRPr lang="en-US" sz="800" dirty="0">
              <a:solidFill>
                <a:schemeClr val="tx1"/>
              </a:solidFill>
            </a:endParaRPr>
          </a:p>
        </p:txBody>
      </p:sp>
      <p:grpSp>
        <p:nvGrpSpPr>
          <p:cNvPr id="143" name="Group 142">
            <a:extLst>
              <a:ext uri="{FF2B5EF4-FFF2-40B4-BE49-F238E27FC236}">
                <a16:creationId xmlns:a16="http://schemas.microsoft.com/office/drawing/2014/main" id="{F1226624-0BF6-5646-8268-049F9725E9FB}"/>
              </a:ext>
            </a:extLst>
          </p:cNvPr>
          <p:cNvGrpSpPr/>
          <p:nvPr userDrawn="1"/>
        </p:nvGrpSpPr>
        <p:grpSpPr>
          <a:xfrm>
            <a:off x="11862848" y="1678073"/>
            <a:ext cx="230832" cy="3501854"/>
            <a:chOff x="0" y="1980381"/>
            <a:chExt cx="230832" cy="3501854"/>
          </a:xfrm>
        </p:grpSpPr>
        <p:sp>
          <p:nvSpPr>
            <p:cNvPr id="144" name="TextBox 143">
              <a:extLst>
                <a:ext uri="{FF2B5EF4-FFF2-40B4-BE49-F238E27FC236}">
                  <a16:creationId xmlns:a16="http://schemas.microsoft.com/office/drawing/2014/main" id="{9CBFD0D5-8BAC-F143-BD99-103B596181A0}"/>
                </a:ext>
              </a:extLst>
            </p:cNvPr>
            <p:cNvSpPr txBox="1"/>
            <p:nvPr userDrawn="1"/>
          </p:nvSpPr>
          <p:spPr>
            <a:xfrm rot="16200000">
              <a:off x="-1394245" y="3615892"/>
              <a:ext cx="3019322" cy="230832"/>
            </a:xfrm>
            <a:prstGeom prst="rect">
              <a:avLst/>
            </a:prstGeom>
            <a:noFill/>
          </p:spPr>
          <p:txBody>
            <a:bodyPr wrap="square" rtlCol="0" anchor="ctr">
              <a:spAutoFit/>
            </a:bodyPr>
            <a:lstStyle/>
            <a:p>
              <a:pPr algn="ctr"/>
              <a:r>
                <a:rPr lang="en-US" sz="900" dirty="0">
                  <a:solidFill>
                    <a:schemeClr val="tx1"/>
                  </a:solidFill>
                </a:rPr>
                <a:t>Proprietary and Confidential Property of UCB</a:t>
              </a:r>
              <a:endParaRPr lang="en-BE" sz="900" dirty="0">
                <a:solidFill>
                  <a:schemeClr val="tx1"/>
                </a:solidFill>
              </a:endParaRPr>
            </a:p>
          </p:txBody>
        </p:sp>
        <p:cxnSp>
          <p:nvCxnSpPr>
            <p:cNvPr id="145" name="Straight Connector 144">
              <a:extLst>
                <a:ext uri="{FF2B5EF4-FFF2-40B4-BE49-F238E27FC236}">
                  <a16:creationId xmlns:a16="http://schemas.microsoft.com/office/drawing/2014/main" id="{5E70CA2F-4C7B-8545-9BBA-F31243FB3A34}"/>
                </a:ext>
              </a:extLst>
            </p:cNvPr>
            <p:cNvCxnSpPr>
              <a:cxnSpLocks/>
            </p:cNvCxnSpPr>
            <p:nvPr userDrawn="1"/>
          </p:nvCxnSpPr>
          <p:spPr>
            <a:xfrm>
              <a:off x="115416" y="1980381"/>
              <a:ext cx="0" cy="47351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1146C6E-3373-9848-9D55-1E36AD9CF8CC}"/>
                </a:ext>
              </a:extLst>
            </p:cNvPr>
            <p:cNvCxnSpPr>
              <a:cxnSpLocks/>
            </p:cNvCxnSpPr>
            <p:nvPr userDrawn="1"/>
          </p:nvCxnSpPr>
          <p:spPr>
            <a:xfrm>
              <a:off x="115416" y="5008716"/>
              <a:ext cx="0" cy="473519"/>
            </a:xfrm>
            <a:prstGeom prst="line">
              <a:avLst/>
            </a:prstGeom>
          </p:spPr>
          <p:style>
            <a:lnRef idx="1">
              <a:schemeClr val="accent1"/>
            </a:lnRef>
            <a:fillRef idx="0">
              <a:schemeClr val="accent1"/>
            </a:fillRef>
            <a:effectRef idx="0">
              <a:schemeClr val="accent1"/>
            </a:effectRef>
            <a:fontRef idx="minor">
              <a:schemeClr val="tx1"/>
            </a:fontRef>
          </p:style>
        </p:cxnSp>
      </p:grpSp>
      <p:pic>
        <p:nvPicPr>
          <p:cNvPr id="149" name="Graphic 148">
            <a:extLst>
              <a:ext uri="{FF2B5EF4-FFF2-40B4-BE49-F238E27FC236}">
                <a16:creationId xmlns:a16="http://schemas.microsoft.com/office/drawing/2014/main" id="{DC6B50E3-022A-B04F-AB85-9FFB8229D599}"/>
              </a:ext>
            </a:extLst>
          </p:cNvPr>
          <p:cNvPicPr>
            <a:picLocks noChangeAspect="1"/>
          </p:cNvPicPr>
          <p:nvPr userDrawn="1"/>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270163" y="6213912"/>
            <a:ext cx="1996068" cy="644088"/>
          </a:xfrm>
          <a:prstGeom prst="rect">
            <a:avLst/>
          </a:prstGeom>
        </p:spPr>
      </p:pic>
    </p:spTree>
    <p:extLst>
      <p:ext uri="{BB962C8B-B14F-4D97-AF65-F5344CB8AC3E}">
        <p14:creationId xmlns:p14="http://schemas.microsoft.com/office/powerpoint/2010/main" val="90124568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oleObject" Target="../embeddings/oleObject6.bin"/><Relationship Id="rId7"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8.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5FD56932-06FC-42D4-A242-DF7984758FD3}"/>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4B4F54"/>
                </a:solidFill>
                <a:effectLst/>
                <a:uLnTx/>
                <a:uFillTx/>
                <a:latin typeface="Tahoma"/>
                <a:ea typeface="+mn-ea"/>
                <a:cs typeface="+mn-cs"/>
              </a:rPr>
              <a:t>UCB Team Name [XXXXXXX] - UCB - Approval [XX-XX-XXX] - Approval date [XX Month XXXX] ! GO TO INSERT&gt;HEADER FOOTER to change. </a:t>
            </a:r>
            <a:endParaRPr kumimoji="0" lang="en-BE" sz="800" b="0" i="0" u="none" strike="noStrike" kern="1200" cap="none" spc="0" normalizeH="0" baseline="0" noProof="0" dirty="0">
              <a:ln>
                <a:noFill/>
              </a:ln>
              <a:solidFill>
                <a:srgbClr val="4B4F54"/>
              </a:solidFill>
              <a:effectLst/>
              <a:uLnTx/>
              <a:uFillTx/>
              <a:latin typeface="Tahoma"/>
              <a:ea typeface="+mn-ea"/>
              <a:cs typeface="+mn-cs"/>
            </a:endParaRPr>
          </a:p>
        </p:txBody>
      </p:sp>
      <p:sp>
        <p:nvSpPr>
          <p:cNvPr id="8" name="Title 2">
            <a:extLst>
              <a:ext uri="{FF2B5EF4-FFF2-40B4-BE49-F238E27FC236}">
                <a16:creationId xmlns:a16="http://schemas.microsoft.com/office/drawing/2014/main" id="{B9090264-2787-419D-B010-D590A323B1D9}"/>
              </a:ext>
            </a:extLst>
          </p:cNvPr>
          <p:cNvSpPr txBox="1">
            <a:spLocks/>
          </p:cNvSpPr>
          <p:nvPr/>
        </p:nvSpPr>
        <p:spPr>
          <a:xfrm>
            <a:off x="7534424" y="2809789"/>
            <a:ext cx="4656381" cy="867930"/>
          </a:xfrm>
          <a:prstGeom prst="rect">
            <a:avLst/>
          </a:prstGeom>
        </p:spPr>
        <p:txBody>
          <a:bodyPr vert="horz" wrap="square" lIns="0" tIns="45720" rIns="36000" bIns="45720" rtlCol="0" anchor="t">
            <a:spAutoFit/>
          </a:bodyPr>
          <a:lst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BE" sz="2800" b="1" i="0" u="none" strike="noStrike" kern="1200" cap="none" spc="0" normalizeH="0" baseline="0" noProof="0" dirty="0">
                <a:ln>
                  <a:noFill/>
                </a:ln>
                <a:solidFill>
                  <a:srgbClr val="FFFFFF"/>
                </a:solidFill>
                <a:effectLst/>
                <a:uLnTx/>
                <a:uFillTx/>
                <a:latin typeface="Tahoma"/>
                <a:ea typeface="+mj-ea"/>
                <a:cs typeface="+mj-cs"/>
              </a:rPr>
              <a:t>This is a cover slide with an image.</a:t>
            </a:r>
          </a:p>
        </p:txBody>
      </p:sp>
      <p:sp>
        <p:nvSpPr>
          <p:cNvPr id="10" name="Subtitle 3">
            <a:extLst>
              <a:ext uri="{FF2B5EF4-FFF2-40B4-BE49-F238E27FC236}">
                <a16:creationId xmlns:a16="http://schemas.microsoft.com/office/drawing/2014/main" id="{0F64864E-3909-42BB-894C-B19ADB1FECD3}"/>
              </a:ext>
            </a:extLst>
          </p:cNvPr>
          <p:cNvSpPr txBox="1">
            <a:spLocks/>
          </p:cNvSpPr>
          <p:nvPr/>
        </p:nvSpPr>
        <p:spPr>
          <a:xfrm>
            <a:off x="7463306" y="3753505"/>
            <a:ext cx="4656381" cy="31393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1489"/>
              </a:buClr>
              <a:buSzTx/>
              <a:buFont typeface="Arial" panose="020B0604020202020204" pitchFamily="34" charset="0"/>
              <a:buNone/>
              <a:tabLst/>
              <a:defRPr/>
            </a:pPr>
            <a:r>
              <a:rPr kumimoji="0" lang="en-BE" sz="1600" b="0" i="0" u="none" strike="noStrike" kern="1200" cap="none" spc="0" normalizeH="0" baseline="0" noProof="0" dirty="0">
                <a:ln>
                  <a:noFill/>
                </a:ln>
                <a:solidFill>
                  <a:srgbClr val="FFFFFF"/>
                </a:solidFill>
                <a:effectLst/>
                <a:uLnTx/>
                <a:uFillTx/>
                <a:latin typeface="Tahoma"/>
                <a:ea typeface="+mn-ea"/>
                <a:cs typeface="+mn-cs"/>
              </a:rPr>
              <a:t>You can add your name, a subtitle,</a:t>
            </a:r>
            <a:r>
              <a:rPr kumimoji="0" lang="fr-BE" sz="1600" b="0" i="0" u="none" strike="noStrike" kern="1200" cap="none" spc="0" normalizeH="0" baseline="0" noProof="0" dirty="0">
                <a:ln>
                  <a:noFill/>
                </a:ln>
                <a:solidFill>
                  <a:srgbClr val="FFFFFF"/>
                </a:solidFill>
                <a:effectLst/>
                <a:uLnTx/>
                <a:uFillTx/>
                <a:latin typeface="Tahoma"/>
                <a:ea typeface="+mn-ea"/>
                <a:cs typeface="+mn-cs"/>
              </a:rPr>
              <a:t> the date</a:t>
            </a:r>
            <a:r>
              <a:rPr kumimoji="0" lang="en-BE" sz="1600" b="0" i="0" u="none" strike="noStrike" kern="1200" cap="none" spc="0" normalizeH="0" baseline="0" noProof="0" dirty="0">
                <a:ln>
                  <a:noFill/>
                </a:ln>
                <a:solidFill>
                  <a:srgbClr val="FFFFFF"/>
                </a:solidFill>
                <a:effectLst/>
                <a:uLnTx/>
                <a:uFillTx/>
                <a:latin typeface="Tahoma"/>
                <a:ea typeface="+mn-ea"/>
                <a:cs typeface="+mn-cs"/>
              </a:rPr>
              <a:t>.</a:t>
            </a:r>
          </a:p>
        </p:txBody>
      </p:sp>
      <p:sp>
        <p:nvSpPr>
          <p:cNvPr id="9" name="Title 2">
            <a:extLst>
              <a:ext uri="{FF2B5EF4-FFF2-40B4-BE49-F238E27FC236}">
                <a16:creationId xmlns:a16="http://schemas.microsoft.com/office/drawing/2014/main" id="{409FCE21-389F-472B-9AC2-2C4C1BC3CE1E}"/>
              </a:ext>
            </a:extLst>
          </p:cNvPr>
          <p:cNvSpPr txBox="1">
            <a:spLocks/>
          </p:cNvSpPr>
          <p:nvPr/>
        </p:nvSpPr>
        <p:spPr>
          <a:xfrm>
            <a:off x="7534424" y="2809789"/>
            <a:ext cx="4656381" cy="867930"/>
          </a:xfrm>
          <a:prstGeom prst="rect">
            <a:avLst/>
          </a:prstGeom>
        </p:spPr>
        <p:txBody>
          <a:bodyPr vert="horz" wrap="square" lIns="0" tIns="45720" rIns="36000" bIns="45720" rtlCol="0" anchor="t">
            <a:spAutoFit/>
          </a:bodyPr>
          <a:lst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BE" sz="2800" b="1" i="0" u="none" strike="noStrike" kern="1200" cap="none" spc="0" normalizeH="0" baseline="0" noProof="0" dirty="0">
                <a:ln>
                  <a:noFill/>
                </a:ln>
                <a:solidFill>
                  <a:srgbClr val="FFFFFF"/>
                </a:solidFill>
                <a:effectLst/>
                <a:uLnTx/>
                <a:uFillTx/>
                <a:latin typeface="Tahoma"/>
                <a:ea typeface="+mj-ea"/>
                <a:cs typeface="+mj-cs"/>
              </a:rPr>
              <a:t>This is a cover slide with an image.</a:t>
            </a:r>
          </a:p>
        </p:txBody>
      </p:sp>
      <p:sp>
        <p:nvSpPr>
          <p:cNvPr id="11" name="Subtitle 3">
            <a:extLst>
              <a:ext uri="{FF2B5EF4-FFF2-40B4-BE49-F238E27FC236}">
                <a16:creationId xmlns:a16="http://schemas.microsoft.com/office/drawing/2014/main" id="{F48F9EB2-EB3E-4373-A946-C7ADD83B405C}"/>
              </a:ext>
            </a:extLst>
          </p:cNvPr>
          <p:cNvSpPr txBox="1">
            <a:spLocks/>
          </p:cNvSpPr>
          <p:nvPr/>
        </p:nvSpPr>
        <p:spPr>
          <a:xfrm>
            <a:off x="7534424" y="3769794"/>
            <a:ext cx="4656381" cy="31393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001489"/>
              </a:buClr>
              <a:buSzTx/>
              <a:buFont typeface="Arial" panose="020B0604020202020204" pitchFamily="34" charset="0"/>
              <a:buNone/>
              <a:tabLst/>
              <a:defRPr/>
            </a:pPr>
            <a:r>
              <a:rPr kumimoji="0" lang="en-BE" sz="1600" b="0" i="0" u="none" strike="noStrike" kern="1200" cap="none" spc="0" normalizeH="0" baseline="0" noProof="0" dirty="0">
                <a:ln>
                  <a:noFill/>
                </a:ln>
                <a:solidFill>
                  <a:srgbClr val="FFFFFF"/>
                </a:solidFill>
                <a:effectLst/>
                <a:uLnTx/>
                <a:uFillTx/>
                <a:latin typeface="Tahoma"/>
                <a:ea typeface="+mn-ea"/>
                <a:cs typeface="+mn-cs"/>
              </a:rPr>
              <a:t>You can add your name, a subtitle,</a:t>
            </a:r>
            <a:r>
              <a:rPr kumimoji="0" lang="fr-BE" sz="1600" b="0" i="0" u="none" strike="noStrike" kern="1200" cap="none" spc="0" normalizeH="0" baseline="0" noProof="0" dirty="0">
                <a:ln>
                  <a:noFill/>
                </a:ln>
                <a:solidFill>
                  <a:srgbClr val="FFFFFF"/>
                </a:solidFill>
                <a:effectLst/>
                <a:uLnTx/>
                <a:uFillTx/>
                <a:latin typeface="Tahoma"/>
                <a:ea typeface="+mn-ea"/>
                <a:cs typeface="+mn-cs"/>
              </a:rPr>
              <a:t> the date</a:t>
            </a:r>
            <a:r>
              <a:rPr kumimoji="0" lang="en-BE" sz="1600" b="0" i="0" u="none" strike="noStrike" kern="1200" cap="none" spc="0" normalizeH="0" baseline="0" noProof="0" dirty="0">
                <a:ln>
                  <a:noFill/>
                </a:ln>
                <a:solidFill>
                  <a:srgbClr val="FFFFFF"/>
                </a:solidFill>
                <a:effectLst/>
                <a:uLnTx/>
                <a:uFillTx/>
                <a:latin typeface="Tahoma"/>
                <a:ea typeface="+mn-ea"/>
                <a:cs typeface="+mn-cs"/>
              </a:rPr>
              <a:t>.</a:t>
            </a:r>
          </a:p>
        </p:txBody>
      </p:sp>
      <p:pic>
        <p:nvPicPr>
          <p:cNvPr id="5" name="图片 4" descr="小孩在水里&#10;&#10;描述已自动生成">
            <a:extLst>
              <a:ext uri="{FF2B5EF4-FFF2-40B4-BE49-F238E27FC236}">
                <a16:creationId xmlns:a16="http://schemas.microsoft.com/office/drawing/2014/main" id="{68BBB2D4-6668-4E73-B5AE-A7767B4F0E12}"/>
              </a:ext>
            </a:extLst>
          </p:cNvPr>
          <p:cNvPicPr>
            <a:picLocks noChangeAspect="1"/>
          </p:cNvPicPr>
          <p:nvPr/>
        </p:nvPicPr>
        <p:blipFill>
          <a:blip r:embed="rId2"/>
          <a:stretch>
            <a:fillRect/>
          </a:stretch>
        </p:blipFill>
        <p:spPr>
          <a:xfrm>
            <a:off x="1567" y="0"/>
            <a:ext cx="12188866" cy="6858000"/>
          </a:xfrm>
          <a:prstGeom prst="rect">
            <a:avLst/>
          </a:prstGeom>
        </p:spPr>
      </p:pic>
      <p:sp>
        <p:nvSpPr>
          <p:cNvPr id="14" name="Title 2">
            <a:extLst>
              <a:ext uri="{FF2B5EF4-FFF2-40B4-BE49-F238E27FC236}">
                <a16:creationId xmlns:a16="http://schemas.microsoft.com/office/drawing/2014/main" id="{596AEF15-2FA0-41D4-B786-A5CF8FDF03B5}"/>
              </a:ext>
            </a:extLst>
          </p:cNvPr>
          <p:cNvSpPr txBox="1">
            <a:spLocks/>
          </p:cNvSpPr>
          <p:nvPr/>
        </p:nvSpPr>
        <p:spPr>
          <a:xfrm>
            <a:off x="7412292" y="2636534"/>
            <a:ext cx="4656381" cy="867930"/>
          </a:xfrm>
          <a:prstGeom prst="rect">
            <a:avLst/>
          </a:prstGeom>
        </p:spPr>
        <p:txBody>
          <a:bodyPr vert="horz" wrap="square" lIns="0" tIns="45720" rIns="36000" bIns="45720" rtlCol="0" anchor="t">
            <a:spAutoFit/>
          </a:bodyPr>
          <a:lst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a:lstStyle>
          <a:p>
            <a:r>
              <a:rPr lang="zh-CN" altLang="en-US" dirty="0">
                <a:solidFill>
                  <a:schemeClr val="bg1"/>
                </a:solidFill>
              </a:rPr>
              <a:t>拉考沙胺口服溶液</a:t>
            </a:r>
            <a:endParaRPr lang="en-US" altLang="zh-CN" dirty="0">
              <a:solidFill>
                <a:schemeClr val="bg1"/>
              </a:solidFill>
            </a:endParaRPr>
          </a:p>
          <a:p>
            <a:r>
              <a:rPr lang="zh-CN" altLang="en-US" dirty="0">
                <a:solidFill>
                  <a:schemeClr val="bg1"/>
                </a:solidFill>
              </a:rPr>
              <a:t>（维派特</a:t>
            </a:r>
            <a:r>
              <a:rPr lang="en-US" altLang="zh-CN" baseline="30000" dirty="0">
                <a:solidFill>
                  <a:schemeClr val="bg1"/>
                </a:solidFill>
              </a:rPr>
              <a:t>®</a:t>
            </a:r>
            <a:r>
              <a:rPr lang="zh-CN" altLang="en-US" dirty="0">
                <a:solidFill>
                  <a:schemeClr val="bg1"/>
                </a:solidFill>
              </a:rPr>
              <a:t>口服溶液）</a:t>
            </a:r>
            <a:endParaRPr lang="en-US" altLang="zh-CN" dirty="0">
              <a:solidFill>
                <a:schemeClr val="bg1"/>
              </a:solidFill>
            </a:endParaRPr>
          </a:p>
        </p:txBody>
      </p:sp>
      <p:sp>
        <p:nvSpPr>
          <p:cNvPr id="15" name="Subtitle 3">
            <a:extLst>
              <a:ext uri="{FF2B5EF4-FFF2-40B4-BE49-F238E27FC236}">
                <a16:creationId xmlns:a16="http://schemas.microsoft.com/office/drawing/2014/main" id="{EDC8B61D-C466-4048-97F8-477DF55FF23D}"/>
              </a:ext>
            </a:extLst>
          </p:cNvPr>
          <p:cNvSpPr txBox="1">
            <a:spLocks/>
          </p:cNvSpPr>
          <p:nvPr/>
        </p:nvSpPr>
        <p:spPr>
          <a:xfrm>
            <a:off x="7335290" y="3596539"/>
            <a:ext cx="4656381" cy="31393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a:solidFill>
                  <a:schemeClr val="bg1"/>
                </a:solidFill>
              </a:rPr>
              <a:t>优时比（上海）贸易有限公司</a:t>
            </a:r>
            <a:endParaRPr lang="en-BE">
              <a:solidFill>
                <a:schemeClr val="bg1"/>
              </a:solidFill>
            </a:endParaRPr>
          </a:p>
        </p:txBody>
      </p:sp>
    </p:spTree>
    <p:extLst>
      <p:ext uri="{BB962C8B-B14F-4D97-AF65-F5344CB8AC3E}">
        <p14:creationId xmlns:p14="http://schemas.microsoft.com/office/powerpoint/2010/main" val="220297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EB27B67F-57A1-4B84-B63A-75F2B77C244C}"/>
              </a:ext>
            </a:extLst>
          </p:cNvPr>
          <p:cNvSpPr txBox="1">
            <a:spLocks/>
          </p:cNvSpPr>
          <p:nvPr/>
        </p:nvSpPr>
        <p:spPr>
          <a:xfrm>
            <a:off x="7077403" y="1445670"/>
            <a:ext cx="5114597" cy="3829831"/>
          </a:xfrm>
          <a:prstGeom prst="rect">
            <a:avLst/>
          </a:prstGeom>
        </p:spPr>
        <p:txBody>
          <a:bodyPr vert="horz" wrap="square" lIns="0" tIns="45720" rIns="36000" bIns="45720" rtlCol="0" anchor="b">
            <a:spAutoFit/>
          </a:bodyPr>
          <a:lst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zh-CN" altLang="en-US" sz="2800" b="1" i="0" u="none" strike="noStrike" kern="1200" cap="none" spc="0" normalizeH="0" baseline="0" noProof="0" dirty="0">
                <a:ln>
                  <a:noFill/>
                </a:ln>
                <a:solidFill>
                  <a:srgbClr val="001489"/>
                </a:solidFill>
                <a:effectLst/>
                <a:uLnTx/>
                <a:uFillTx/>
                <a:latin typeface="Tahoma"/>
                <a:ea typeface="+mj-ea"/>
                <a:cs typeface="+mj-cs"/>
              </a:rPr>
              <a:t>目录</a:t>
            </a:r>
            <a:r>
              <a:rPr lang="zh-CN" altLang="en-US" dirty="0">
                <a:solidFill>
                  <a:srgbClr val="001489"/>
                </a:solidFill>
                <a:latin typeface="Tahoma"/>
              </a:rPr>
              <a:t>：</a:t>
            </a:r>
            <a:endParaRPr lang="en-US" altLang="zh-CN" dirty="0">
              <a:solidFill>
                <a:srgbClr val="001489"/>
              </a:solidFill>
              <a:latin typeface="Tahoma"/>
            </a:endParaRPr>
          </a:p>
          <a:p>
            <a:pPr marL="0" marR="0" lvl="0" indent="0" algn="l" defTabSz="914400" rtl="0" eaLnBrk="1" fontAlgn="auto" latinLnBrk="0" hangingPunct="1">
              <a:lnSpc>
                <a:spcPct val="150000"/>
              </a:lnSpc>
              <a:spcBef>
                <a:spcPct val="0"/>
              </a:spcBef>
              <a:spcAft>
                <a:spcPts val="0"/>
              </a:spcAft>
              <a:buClrTx/>
              <a:buSzTx/>
              <a:buFontTx/>
              <a:buNone/>
              <a:tabLst/>
              <a:defRPr/>
            </a:pPr>
            <a:endParaRPr lang="en-US" altLang="zh-CN" dirty="0">
              <a:solidFill>
                <a:srgbClr val="001489"/>
              </a:solidFill>
              <a:latin typeface="Tahoma"/>
            </a:endParaRPr>
          </a:p>
          <a:p>
            <a:pPr marL="514350" marR="0" lvl="0" indent="-514350" algn="l" defTabSz="914400" rtl="0" eaLnBrk="1" fontAlgn="auto" latinLnBrk="0" hangingPunct="1">
              <a:lnSpc>
                <a:spcPct val="150000"/>
              </a:lnSpc>
              <a:spcBef>
                <a:spcPct val="0"/>
              </a:spcBef>
              <a:spcAft>
                <a:spcPts val="0"/>
              </a:spcAft>
              <a:buClrTx/>
              <a:buSzTx/>
              <a:buFontTx/>
              <a:buAutoNum type="arabicPeriod"/>
              <a:tabLst/>
              <a:defRPr/>
            </a:pPr>
            <a:r>
              <a:rPr kumimoji="0" lang="zh-CN" altLang="en-US" sz="2400" b="0" i="0" u="none" strike="noStrike" kern="1200" cap="none" spc="0" normalizeH="0" baseline="0" noProof="0" dirty="0">
                <a:ln>
                  <a:noFill/>
                </a:ln>
                <a:solidFill>
                  <a:srgbClr val="001489"/>
                </a:solidFill>
                <a:effectLst/>
                <a:uLnTx/>
                <a:uFillTx/>
                <a:latin typeface="Tahoma"/>
                <a:ea typeface="+mj-ea"/>
                <a:cs typeface="+mj-cs"/>
              </a:rPr>
              <a:t>药品基本信息</a:t>
            </a:r>
            <a:endParaRPr kumimoji="0" lang="en-US" altLang="zh-CN" sz="2400" b="0" i="0" u="none" strike="noStrike" kern="1200" cap="none" spc="0" normalizeH="0" baseline="0" noProof="0" dirty="0">
              <a:ln>
                <a:noFill/>
              </a:ln>
              <a:solidFill>
                <a:srgbClr val="001489"/>
              </a:solidFill>
              <a:effectLst/>
              <a:uLnTx/>
              <a:uFillTx/>
              <a:latin typeface="Tahoma"/>
              <a:ea typeface="+mj-ea"/>
              <a:cs typeface="+mj-cs"/>
            </a:endParaRPr>
          </a:p>
          <a:p>
            <a:pPr marL="514350" marR="0" lvl="0" indent="-514350" algn="l" defTabSz="914400" rtl="0" eaLnBrk="1" fontAlgn="auto" latinLnBrk="0" hangingPunct="1">
              <a:lnSpc>
                <a:spcPct val="150000"/>
              </a:lnSpc>
              <a:spcBef>
                <a:spcPct val="0"/>
              </a:spcBef>
              <a:spcAft>
                <a:spcPts val="0"/>
              </a:spcAft>
              <a:buClrTx/>
              <a:buSzTx/>
              <a:buFontTx/>
              <a:buAutoNum type="arabicPeriod"/>
              <a:tabLst/>
              <a:defRPr/>
            </a:pPr>
            <a:r>
              <a:rPr lang="zh-CN" altLang="en-US" sz="2400" b="0" dirty="0">
                <a:solidFill>
                  <a:srgbClr val="001489"/>
                </a:solidFill>
                <a:latin typeface="Tahoma"/>
              </a:rPr>
              <a:t>安全性</a:t>
            </a:r>
            <a:endParaRPr lang="en-US" altLang="zh-CN" sz="2400" b="0" dirty="0">
              <a:solidFill>
                <a:srgbClr val="001489"/>
              </a:solidFill>
              <a:latin typeface="Tahoma"/>
            </a:endParaRPr>
          </a:p>
          <a:p>
            <a:pPr marL="514350" marR="0" lvl="0" indent="-514350" algn="l" defTabSz="914400" rtl="0" eaLnBrk="1" fontAlgn="auto" latinLnBrk="0" hangingPunct="1">
              <a:lnSpc>
                <a:spcPct val="150000"/>
              </a:lnSpc>
              <a:spcBef>
                <a:spcPct val="0"/>
              </a:spcBef>
              <a:spcAft>
                <a:spcPts val="0"/>
              </a:spcAft>
              <a:buClrTx/>
              <a:buSzTx/>
              <a:buFontTx/>
              <a:buAutoNum type="arabicPeriod"/>
              <a:tabLst/>
              <a:defRPr/>
            </a:pPr>
            <a:r>
              <a:rPr kumimoji="0" lang="zh-CN" altLang="en-US" sz="2400" b="0" i="0" u="none" strike="noStrike" kern="1200" cap="none" spc="0" normalizeH="0" baseline="0" noProof="0" dirty="0">
                <a:ln>
                  <a:noFill/>
                </a:ln>
                <a:solidFill>
                  <a:srgbClr val="001489"/>
                </a:solidFill>
                <a:effectLst/>
                <a:uLnTx/>
                <a:uFillTx/>
                <a:latin typeface="Tahoma"/>
                <a:ea typeface="+mj-ea"/>
                <a:cs typeface="+mj-cs"/>
              </a:rPr>
              <a:t>有效性</a:t>
            </a:r>
            <a:endParaRPr kumimoji="0" lang="en-US" altLang="zh-CN" sz="2400" b="0" i="0" u="none" strike="noStrike" kern="1200" cap="none" spc="0" normalizeH="0" baseline="0" noProof="0" dirty="0">
              <a:ln>
                <a:noFill/>
              </a:ln>
              <a:solidFill>
                <a:srgbClr val="001489"/>
              </a:solidFill>
              <a:effectLst/>
              <a:uLnTx/>
              <a:uFillTx/>
              <a:latin typeface="Tahoma"/>
              <a:ea typeface="+mj-ea"/>
              <a:cs typeface="+mj-cs"/>
            </a:endParaRPr>
          </a:p>
          <a:p>
            <a:pPr marL="514350" marR="0" lvl="0" indent="-514350" algn="l" defTabSz="914400" rtl="0" eaLnBrk="1" fontAlgn="auto" latinLnBrk="0" hangingPunct="1">
              <a:lnSpc>
                <a:spcPct val="150000"/>
              </a:lnSpc>
              <a:spcBef>
                <a:spcPct val="0"/>
              </a:spcBef>
              <a:spcAft>
                <a:spcPts val="0"/>
              </a:spcAft>
              <a:buClrTx/>
              <a:buSzTx/>
              <a:buFontTx/>
              <a:buAutoNum type="arabicPeriod"/>
              <a:tabLst/>
              <a:defRPr/>
            </a:pPr>
            <a:r>
              <a:rPr lang="zh-CN" altLang="en-US" sz="2400" b="0" dirty="0">
                <a:solidFill>
                  <a:srgbClr val="001489"/>
                </a:solidFill>
                <a:latin typeface="Tahoma"/>
              </a:rPr>
              <a:t>创新性</a:t>
            </a:r>
            <a:endParaRPr lang="en-US" altLang="zh-CN" sz="2400" b="0" dirty="0">
              <a:solidFill>
                <a:srgbClr val="001489"/>
              </a:solidFill>
              <a:latin typeface="Tahoma"/>
            </a:endParaRPr>
          </a:p>
          <a:p>
            <a:pPr marL="514350" marR="0" lvl="0" indent="-514350" algn="l" defTabSz="914400" rtl="0" eaLnBrk="1" fontAlgn="auto" latinLnBrk="0" hangingPunct="1">
              <a:lnSpc>
                <a:spcPct val="150000"/>
              </a:lnSpc>
              <a:spcBef>
                <a:spcPct val="0"/>
              </a:spcBef>
              <a:spcAft>
                <a:spcPts val="0"/>
              </a:spcAft>
              <a:buClrTx/>
              <a:buSzTx/>
              <a:buFontTx/>
              <a:buAutoNum type="arabicPeriod"/>
              <a:tabLst/>
              <a:defRPr/>
            </a:pPr>
            <a:r>
              <a:rPr kumimoji="0" lang="zh-CN" altLang="en-US" sz="2400" b="0" i="0" u="none" strike="noStrike" kern="1200" cap="none" spc="0" normalizeH="0" baseline="0" noProof="0" dirty="0">
                <a:ln>
                  <a:noFill/>
                </a:ln>
                <a:solidFill>
                  <a:srgbClr val="001489"/>
                </a:solidFill>
                <a:effectLst/>
                <a:uLnTx/>
                <a:uFillTx/>
                <a:latin typeface="Tahoma"/>
                <a:ea typeface="+mj-ea"/>
                <a:cs typeface="+mj-cs"/>
              </a:rPr>
              <a:t>公平性</a:t>
            </a:r>
            <a:endParaRPr kumimoji="0" lang="en-US" altLang="zh-CN" sz="2800" b="0" i="0" u="none" strike="noStrike" kern="1200" cap="none" spc="0" normalizeH="0" baseline="0" noProof="0" dirty="0">
              <a:ln>
                <a:noFill/>
              </a:ln>
              <a:solidFill>
                <a:srgbClr val="001489"/>
              </a:solidFill>
              <a:effectLst/>
              <a:uLnTx/>
              <a:uFillTx/>
              <a:latin typeface="Tahoma"/>
              <a:ea typeface="+mj-ea"/>
              <a:cs typeface="+mj-cs"/>
            </a:endParaRPr>
          </a:p>
        </p:txBody>
      </p:sp>
      <p:pic>
        <p:nvPicPr>
          <p:cNvPr id="8" name="图片占位符 5" descr="小孩站在水里&#10;&#10;描述已自动生成">
            <a:extLst>
              <a:ext uri="{FF2B5EF4-FFF2-40B4-BE49-F238E27FC236}">
                <a16:creationId xmlns:a16="http://schemas.microsoft.com/office/drawing/2014/main" id="{FEF2402D-D300-44CA-8C71-35C21749A4CE}"/>
              </a:ext>
            </a:extLst>
          </p:cNvPr>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455552" y="347128"/>
            <a:ext cx="5640448" cy="5761038"/>
          </a:xfrm>
          <a:custGeom>
            <a:avLst/>
            <a:gdLst>
              <a:gd name="connsiteX0" fmla="*/ 5334786 w 5723503"/>
              <a:gd name="connsiteY0" fmla="*/ 4202324 h 6079105"/>
              <a:gd name="connsiteX1" fmla="*/ 5477176 w 5723503"/>
              <a:gd name="connsiteY1" fmla="*/ 4202324 h 6079105"/>
              <a:gd name="connsiteX2" fmla="*/ 5477176 w 5723503"/>
              <a:gd name="connsiteY2" fmla="*/ 4342372 h 6079105"/>
              <a:gd name="connsiteX3" fmla="*/ 5334786 w 5723503"/>
              <a:gd name="connsiteY3" fmla="*/ 4202324 h 6079105"/>
              <a:gd name="connsiteX4" fmla="*/ 5549767 w 5723503"/>
              <a:gd name="connsiteY4" fmla="*/ 4201562 h 6079105"/>
              <a:gd name="connsiteX5" fmla="*/ 5692157 w 5723503"/>
              <a:gd name="connsiteY5" fmla="*/ 4201562 h 6079105"/>
              <a:gd name="connsiteX6" fmla="*/ 5692157 w 5723503"/>
              <a:gd name="connsiteY6" fmla="*/ 4341546 h 6079105"/>
              <a:gd name="connsiteX7" fmla="*/ 5549767 w 5723503"/>
              <a:gd name="connsiteY7" fmla="*/ 4201562 h 6079105"/>
              <a:gd name="connsiteX8" fmla="*/ 5305408 w 5723503"/>
              <a:gd name="connsiteY8" fmla="*/ 4195979 h 6079105"/>
              <a:gd name="connsiteX9" fmla="*/ 5304901 w 5723503"/>
              <a:gd name="connsiteY9" fmla="*/ 4202324 h 6079105"/>
              <a:gd name="connsiteX10" fmla="*/ 5476923 w 5723503"/>
              <a:gd name="connsiteY10" fmla="*/ 4370991 h 6079105"/>
              <a:gd name="connsiteX11" fmla="*/ 5483269 w 5723503"/>
              <a:gd name="connsiteY11" fmla="*/ 4370483 h 6079105"/>
              <a:gd name="connsiteX12" fmla="*/ 5483078 w 5723503"/>
              <a:gd name="connsiteY12" fmla="*/ 4195979 h 6079105"/>
              <a:gd name="connsiteX13" fmla="*/ 5520960 w 5723503"/>
              <a:gd name="connsiteY13" fmla="*/ 4195154 h 6079105"/>
              <a:gd name="connsiteX14" fmla="*/ 5520452 w 5723503"/>
              <a:gd name="connsiteY14" fmla="*/ 4201499 h 6079105"/>
              <a:gd name="connsiteX15" fmla="*/ 5691904 w 5723503"/>
              <a:gd name="connsiteY15" fmla="*/ 4370230 h 6079105"/>
              <a:gd name="connsiteX16" fmla="*/ 5698249 w 5723503"/>
              <a:gd name="connsiteY16" fmla="*/ 4369785 h 6079105"/>
              <a:gd name="connsiteX17" fmla="*/ 5698630 w 5723503"/>
              <a:gd name="connsiteY17" fmla="*/ 4195154 h 6079105"/>
              <a:gd name="connsiteX18" fmla="*/ 5333264 w 5723503"/>
              <a:gd name="connsiteY18" fmla="*/ 3985811 h 6079105"/>
              <a:gd name="connsiteX19" fmla="*/ 5475654 w 5723503"/>
              <a:gd name="connsiteY19" fmla="*/ 3985811 h 6079105"/>
              <a:gd name="connsiteX20" fmla="*/ 5475654 w 5723503"/>
              <a:gd name="connsiteY20" fmla="*/ 4125795 h 6079105"/>
              <a:gd name="connsiteX21" fmla="*/ 5333264 w 5723503"/>
              <a:gd name="connsiteY21" fmla="*/ 3985811 h 6079105"/>
              <a:gd name="connsiteX22" fmla="*/ 5548181 w 5723503"/>
              <a:gd name="connsiteY22" fmla="*/ 3985050 h 6079105"/>
              <a:gd name="connsiteX23" fmla="*/ 5690571 w 5723503"/>
              <a:gd name="connsiteY23" fmla="*/ 3985050 h 6079105"/>
              <a:gd name="connsiteX24" fmla="*/ 5690571 w 5723503"/>
              <a:gd name="connsiteY24" fmla="*/ 4124971 h 6079105"/>
              <a:gd name="connsiteX25" fmla="*/ 5548181 w 5723503"/>
              <a:gd name="connsiteY25" fmla="*/ 3985050 h 6079105"/>
              <a:gd name="connsiteX26" fmla="*/ 5303885 w 5723503"/>
              <a:gd name="connsiteY26" fmla="*/ 3979466 h 6079105"/>
              <a:gd name="connsiteX27" fmla="*/ 5303251 w 5723503"/>
              <a:gd name="connsiteY27" fmla="*/ 3985748 h 6079105"/>
              <a:gd name="connsiteX28" fmla="*/ 5475210 w 5723503"/>
              <a:gd name="connsiteY28" fmla="*/ 4154415 h 6079105"/>
              <a:gd name="connsiteX29" fmla="*/ 5481555 w 5723503"/>
              <a:gd name="connsiteY29" fmla="*/ 4153971 h 6079105"/>
              <a:gd name="connsiteX30" fmla="*/ 5481555 w 5723503"/>
              <a:gd name="connsiteY30" fmla="*/ 3979466 h 6079105"/>
              <a:gd name="connsiteX31" fmla="*/ 5518866 w 5723503"/>
              <a:gd name="connsiteY31" fmla="*/ 3978705 h 6079105"/>
              <a:gd name="connsiteX32" fmla="*/ 5518612 w 5723503"/>
              <a:gd name="connsiteY32" fmla="*/ 3985050 h 6079105"/>
              <a:gd name="connsiteX33" fmla="*/ 5690190 w 5723503"/>
              <a:gd name="connsiteY33" fmla="*/ 4153717 h 6079105"/>
              <a:gd name="connsiteX34" fmla="*/ 5696536 w 5723503"/>
              <a:gd name="connsiteY34" fmla="*/ 4153209 h 6079105"/>
              <a:gd name="connsiteX35" fmla="*/ 5696536 w 5723503"/>
              <a:gd name="connsiteY35" fmla="*/ 3978705 h 6079105"/>
              <a:gd name="connsiteX36" fmla="*/ 5336436 w 5723503"/>
              <a:gd name="connsiteY36" fmla="*/ 3771646 h 6079105"/>
              <a:gd name="connsiteX37" fmla="*/ 5478762 w 5723503"/>
              <a:gd name="connsiteY37" fmla="*/ 3771646 h 6079105"/>
              <a:gd name="connsiteX38" fmla="*/ 5478762 w 5723503"/>
              <a:gd name="connsiteY38" fmla="*/ 3911694 h 6079105"/>
              <a:gd name="connsiteX39" fmla="*/ 5336436 w 5723503"/>
              <a:gd name="connsiteY39" fmla="*/ 3771646 h 6079105"/>
              <a:gd name="connsiteX40" fmla="*/ 5551353 w 5723503"/>
              <a:gd name="connsiteY40" fmla="*/ 3770821 h 6079105"/>
              <a:gd name="connsiteX41" fmla="*/ 5693743 w 5723503"/>
              <a:gd name="connsiteY41" fmla="*/ 3770821 h 6079105"/>
              <a:gd name="connsiteX42" fmla="*/ 5693743 w 5723503"/>
              <a:gd name="connsiteY42" fmla="*/ 3910869 h 6079105"/>
              <a:gd name="connsiteX43" fmla="*/ 5551353 w 5723503"/>
              <a:gd name="connsiteY43" fmla="*/ 3770821 h 6079105"/>
              <a:gd name="connsiteX44" fmla="*/ 5306995 w 5723503"/>
              <a:gd name="connsiteY44" fmla="*/ 3765301 h 6079105"/>
              <a:gd name="connsiteX45" fmla="*/ 5306487 w 5723503"/>
              <a:gd name="connsiteY45" fmla="*/ 3771647 h 6079105"/>
              <a:gd name="connsiteX46" fmla="*/ 5478509 w 5723503"/>
              <a:gd name="connsiteY46" fmla="*/ 3940314 h 6079105"/>
              <a:gd name="connsiteX47" fmla="*/ 5484855 w 5723503"/>
              <a:gd name="connsiteY47" fmla="*/ 3939806 h 6079105"/>
              <a:gd name="connsiteX48" fmla="*/ 5484664 w 5723503"/>
              <a:gd name="connsiteY48" fmla="*/ 3765301 h 6079105"/>
              <a:gd name="connsiteX49" fmla="*/ 5521975 w 5723503"/>
              <a:gd name="connsiteY49" fmla="*/ 3764540 h 6079105"/>
              <a:gd name="connsiteX50" fmla="*/ 5521531 w 5723503"/>
              <a:gd name="connsiteY50" fmla="*/ 3770885 h 6079105"/>
              <a:gd name="connsiteX51" fmla="*/ 5693490 w 5723503"/>
              <a:gd name="connsiteY51" fmla="*/ 3939552 h 6079105"/>
              <a:gd name="connsiteX52" fmla="*/ 5699835 w 5723503"/>
              <a:gd name="connsiteY52" fmla="*/ 3939044 h 6079105"/>
              <a:gd name="connsiteX53" fmla="*/ 5699645 w 5723503"/>
              <a:gd name="connsiteY53" fmla="*/ 3764540 h 6079105"/>
              <a:gd name="connsiteX54" fmla="*/ 5334786 w 5723503"/>
              <a:gd name="connsiteY54" fmla="*/ 3555070 h 6079105"/>
              <a:gd name="connsiteX55" fmla="*/ 5477176 w 5723503"/>
              <a:gd name="connsiteY55" fmla="*/ 3555070 h 6079105"/>
              <a:gd name="connsiteX56" fmla="*/ 5477176 w 5723503"/>
              <a:gd name="connsiteY56" fmla="*/ 3695118 h 6079105"/>
              <a:gd name="connsiteX57" fmla="*/ 5334786 w 5723503"/>
              <a:gd name="connsiteY57" fmla="*/ 3555070 h 6079105"/>
              <a:gd name="connsiteX58" fmla="*/ 5549767 w 5723503"/>
              <a:gd name="connsiteY58" fmla="*/ 3554309 h 6079105"/>
              <a:gd name="connsiteX59" fmla="*/ 5692157 w 5723503"/>
              <a:gd name="connsiteY59" fmla="*/ 3554309 h 6079105"/>
              <a:gd name="connsiteX60" fmla="*/ 5692157 w 5723503"/>
              <a:gd name="connsiteY60" fmla="*/ 3694293 h 6079105"/>
              <a:gd name="connsiteX61" fmla="*/ 5549767 w 5723503"/>
              <a:gd name="connsiteY61" fmla="*/ 3554309 h 6079105"/>
              <a:gd name="connsiteX62" fmla="*/ 5305472 w 5723503"/>
              <a:gd name="connsiteY62" fmla="*/ 3548725 h 6079105"/>
              <a:gd name="connsiteX63" fmla="*/ 5304774 w 5723503"/>
              <a:gd name="connsiteY63" fmla="*/ 3555071 h 6079105"/>
              <a:gd name="connsiteX64" fmla="*/ 5476796 w 5723503"/>
              <a:gd name="connsiteY64" fmla="*/ 3723738 h 6079105"/>
              <a:gd name="connsiteX65" fmla="*/ 5483141 w 5723503"/>
              <a:gd name="connsiteY65" fmla="*/ 3723230 h 6079105"/>
              <a:gd name="connsiteX66" fmla="*/ 5483141 w 5723503"/>
              <a:gd name="connsiteY66" fmla="*/ 3548725 h 6079105"/>
              <a:gd name="connsiteX67" fmla="*/ 5520452 w 5723503"/>
              <a:gd name="connsiteY67" fmla="*/ 3547964 h 6079105"/>
              <a:gd name="connsiteX68" fmla="*/ 5520452 w 5723503"/>
              <a:gd name="connsiteY68" fmla="*/ 3554246 h 6079105"/>
              <a:gd name="connsiteX69" fmla="*/ 5691777 w 5723503"/>
              <a:gd name="connsiteY69" fmla="*/ 3722913 h 6079105"/>
              <a:gd name="connsiteX70" fmla="*/ 5698122 w 5723503"/>
              <a:gd name="connsiteY70" fmla="*/ 3722468 h 6079105"/>
              <a:gd name="connsiteX71" fmla="*/ 5698122 w 5723503"/>
              <a:gd name="connsiteY71" fmla="*/ 3547964 h 6079105"/>
              <a:gd name="connsiteX72" fmla="*/ 5337959 w 5723503"/>
              <a:gd name="connsiteY72" fmla="*/ 3340969 h 6079105"/>
              <a:gd name="connsiteX73" fmla="*/ 5480349 w 5723503"/>
              <a:gd name="connsiteY73" fmla="*/ 3340969 h 6079105"/>
              <a:gd name="connsiteX74" fmla="*/ 5480349 w 5723503"/>
              <a:gd name="connsiteY74" fmla="*/ 3480953 h 6079105"/>
              <a:gd name="connsiteX75" fmla="*/ 5337959 w 5723503"/>
              <a:gd name="connsiteY75" fmla="*/ 3340969 h 6079105"/>
              <a:gd name="connsiteX76" fmla="*/ 5552876 w 5723503"/>
              <a:gd name="connsiteY76" fmla="*/ 3340144 h 6079105"/>
              <a:gd name="connsiteX77" fmla="*/ 5695266 w 5723503"/>
              <a:gd name="connsiteY77" fmla="*/ 3340144 h 6079105"/>
              <a:gd name="connsiteX78" fmla="*/ 5695266 w 5723503"/>
              <a:gd name="connsiteY78" fmla="*/ 3480192 h 6079105"/>
              <a:gd name="connsiteX79" fmla="*/ 5552876 w 5723503"/>
              <a:gd name="connsiteY79" fmla="*/ 3340144 h 6079105"/>
              <a:gd name="connsiteX80" fmla="*/ 5308581 w 5723503"/>
              <a:gd name="connsiteY80" fmla="*/ 3334560 h 6079105"/>
              <a:gd name="connsiteX81" fmla="*/ 5308137 w 5723503"/>
              <a:gd name="connsiteY81" fmla="*/ 3340906 h 6079105"/>
              <a:gd name="connsiteX82" fmla="*/ 5480096 w 5723503"/>
              <a:gd name="connsiteY82" fmla="*/ 3509636 h 6079105"/>
              <a:gd name="connsiteX83" fmla="*/ 5486441 w 5723503"/>
              <a:gd name="connsiteY83" fmla="*/ 3509129 h 6079105"/>
              <a:gd name="connsiteX84" fmla="*/ 5486251 w 5723503"/>
              <a:gd name="connsiteY84" fmla="*/ 3334560 h 6079105"/>
              <a:gd name="connsiteX85" fmla="*/ 5523498 w 5723503"/>
              <a:gd name="connsiteY85" fmla="*/ 3333863 h 6079105"/>
              <a:gd name="connsiteX86" fmla="*/ 5522990 w 5723503"/>
              <a:gd name="connsiteY86" fmla="*/ 3340208 h 6079105"/>
              <a:gd name="connsiteX87" fmla="*/ 5695013 w 5723503"/>
              <a:gd name="connsiteY87" fmla="*/ 3508875 h 6079105"/>
              <a:gd name="connsiteX88" fmla="*/ 5701358 w 5723503"/>
              <a:gd name="connsiteY88" fmla="*/ 3508367 h 6079105"/>
              <a:gd name="connsiteX89" fmla="*/ 5701168 w 5723503"/>
              <a:gd name="connsiteY89" fmla="*/ 3333863 h 6079105"/>
              <a:gd name="connsiteX90" fmla="*/ 0 w 5723503"/>
              <a:gd name="connsiteY90" fmla="*/ 0 h 6079105"/>
              <a:gd name="connsiteX91" fmla="*/ 5723503 w 5723503"/>
              <a:gd name="connsiteY91" fmla="*/ 0 h 6079105"/>
              <a:gd name="connsiteX92" fmla="*/ 5723503 w 5723503"/>
              <a:gd name="connsiteY92" fmla="*/ 6079105 h 6079105"/>
              <a:gd name="connsiteX93" fmla="*/ 0 w 5723503"/>
              <a:gd name="connsiteY93" fmla="*/ 6079105 h 6079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5723503" h="6079105">
                <a:moveTo>
                  <a:pt x="5334786" y="4202324"/>
                </a:moveTo>
                <a:lnTo>
                  <a:pt x="5477176" y="4202324"/>
                </a:lnTo>
                <a:lnTo>
                  <a:pt x="5477176" y="4342372"/>
                </a:lnTo>
                <a:cubicBezTo>
                  <a:pt x="5456465" y="4274603"/>
                  <a:pt x="5402887" y="4221906"/>
                  <a:pt x="5334786" y="4202324"/>
                </a:cubicBezTo>
                <a:close/>
                <a:moveTo>
                  <a:pt x="5549767" y="4201562"/>
                </a:moveTo>
                <a:lnTo>
                  <a:pt x="5692157" y="4201562"/>
                </a:lnTo>
                <a:lnTo>
                  <a:pt x="5692157" y="4341546"/>
                </a:lnTo>
                <a:cubicBezTo>
                  <a:pt x="5671489" y="4273764"/>
                  <a:pt x="5617889" y="4221069"/>
                  <a:pt x="5549767" y="4201562"/>
                </a:cubicBezTo>
                <a:close/>
                <a:moveTo>
                  <a:pt x="5305408" y="4195979"/>
                </a:moveTo>
                <a:lnTo>
                  <a:pt x="5304901" y="4202324"/>
                </a:lnTo>
                <a:cubicBezTo>
                  <a:pt x="5393001" y="4214782"/>
                  <a:pt x="5462729" y="4283150"/>
                  <a:pt x="5476923" y="4370991"/>
                </a:cubicBezTo>
                <a:lnTo>
                  <a:pt x="5483269" y="4370483"/>
                </a:lnTo>
                <a:lnTo>
                  <a:pt x="5483078" y="4195979"/>
                </a:lnTo>
                <a:close/>
                <a:moveTo>
                  <a:pt x="5520960" y="4195154"/>
                </a:moveTo>
                <a:lnTo>
                  <a:pt x="5520452" y="4201499"/>
                </a:lnTo>
                <a:cubicBezTo>
                  <a:pt x="5608351" y="4214194"/>
                  <a:pt x="5677801" y="4282542"/>
                  <a:pt x="5691904" y="4370230"/>
                </a:cubicBezTo>
                <a:lnTo>
                  <a:pt x="5698249" y="4369785"/>
                </a:lnTo>
                <a:lnTo>
                  <a:pt x="5698630" y="4195154"/>
                </a:lnTo>
                <a:close/>
                <a:moveTo>
                  <a:pt x="5333264" y="3985811"/>
                </a:moveTo>
                <a:lnTo>
                  <a:pt x="5475654" y="3985811"/>
                </a:lnTo>
                <a:lnTo>
                  <a:pt x="5475654" y="4125795"/>
                </a:lnTo>
                <a:cubicBezTo>
                  <a:pt x="5454986" y="4058013"/>
                  <a:pt x="5401386" y="4005318"/>
                  <a:pt x="5333264" y="3985811"/>
                </a:cubicBezTo>
                <a:close/>
                <a:moveTo>
                  <a:pt x="5548181" y="3985050"/>
                </a:moveTo>
                <a:lnTo>
                  <a:pt x="5690571" y="3985050"/>
                </a:lnTo>
                <a:lnTo>
                  <a:pt x="5690571" y="4124971"/>
                </a:lnTo>
                <a:cubicBezTo>
                  <a:pt x="5669824" y="4057251"/>
                  <a:pt x="5616252" y="4004608"/>
                  <a:pt x="5548181" y="3985050"/>
                </a:cubicBezTo>
                <a:close/>
                <a:moveTo>
                  <a:pt x="5303885" y="3979466"/>
                </a:moveTo>
                <a:lnTo>
                  <a:pt x="5303251" y="3985748"/>
                </a:lnTo>
                <a:cubicBezTo>
                  <a:pt x="5391327" y="3998232"/>
                  <a:pt x="5461023" y="4066593"/>
                  <a:pt x="5475210" y="4154415"/>
                </a:cubicBezTo>
                <a:lnTo>
                  <a:pt x="5481555" y="4153971"/>
                </a:lnTo>
                <a:lnTo>
                  <a:pt x="5481555" y="3979466"/>
                </a:lnTo>
                <a:close/>
                <a:moveTo>
                  <a:pt x="5518866" y="3978705"/>
                </a:moveTo>
                <a:lnTo>
                  <a:pt x="5518612" y="3985050"/>
                </a:lnTo>
                <a:cubicBezTo>
                  <a:pt x="5606540" y="3997687"/>
                  <a:pt x="5676048" y="4066015"/>
                  <a:pt x="5690190" y="4153717"/>
                </a:cubicBezTo>
                <a:lnTo>
                  <a:pt x="5696536" y="4153209"/>
                </a:lnTo>
                <a:lnTo>
                  <a:pt x="5696536" y="3978705"/>
                </a:lnTo>
                <a:close/>
                <a:moveTo>
                  <a:pt x="5336436" y="3771646"/>
                </a:moveTo>
                <a:lnTo>
                  <a:pt x="5478762" y="3771646"/>
                </a:lnTo>
                <a:lnTo>
                  <a:pt x="5478762" y="3911694"/>
                </a:lnTo>
                <a:cubicBezTo>
                  <a:pt x="5458064" y="3843940"/>
                  <a:pt x="5404513" y="3791246"/>
                  <a:pt x="5336436" y="3771646"/>
                </a:cubicBezTo>
                <a:close/>
                <a:moveTo>
                  <a:pt x="5551353" y="3770821"/>
                </a:moveTo>
                <a:lnTo>
                  <a:pt x="5693743" y="3770821"/>
                </a:lnTo>
                <a:lnTo>
                  <a:pt x="5693743" y="3910869"/>
                </a:lnTo>
                <a:cubicBezTo>
                  <a:pt x="5673032" y="3843100"/>
                  <a:pt x="5619454" y="3790403"/>
                  <a:pt x="5551353" y="3770821"/>
                </a:cubicBezTo>
                <a:close/>
                <a:moveTo>
                  <a:pt x="5306995" y="3765301"/>
                </a:moveTo>
                <a:lnTo>
                  <a:pt x="5306487" y="3771647"/>
                </a:lnTo>
                <a:cubicBezTo>
                  <a:pt x="5394588" y="3784105"/>
                  <a:pt x="5464315" y="3852472"/>
                  <a:pt x="5478509" y="3940314"/>
                </a:cubicBezTo>
                <a:lnTo>
                  <a:pt x="5484855" y="3939806"/>
                </a:lnTo>
                <a:lnTo>
                  <a:pt x="5484664" y="3765301"/>
                </a:lnTo>
                <a:close/>
                <a:moveTo>
                  <a:pt x="5521975" y="3764540"/>
                </a:moveTo>
                <a:lnTo>
                  <a:pt x="5521531" y="3770885"/>
                </a:lnTo>
                <a:cubicBezTo>
                  <a:pt x="5609607" y="3783369"/>
                  <a:pt x="5679303" y="3851731"/>
                  <a:pt x="5693490" y="3939552"/>
                </a:cubicBezTo>
                <a:lnTo>
                  <a:pt x="5699835" y="3939044"/>
                </a:lnTo>
                <a:lnTo>
                  <a:pt x="5699645" y="3764540"/>
                </a:lnTo>
                <a:close/>
                <a:moveTo>
                  <a:pt x="5334786" y="3555070"/>
                </a:moveTo>
                <a:lnTo>
                  <a:pt x="5477176" y="3555070"/>
                </a:lnTo>
                <a:lnTo>
                  <a:pt x="5477176" y="3695118"/>
                </a:lnTo>
                <a:cubicBezTo>
                  <a:pt x="5456465" y="3627349"/>
                  <a:pt x="5402887" y="3574652"/>
                  <a:pt x="5334786" y="3555070"/>
                </a:cubicBezTo>
                <a:close/>
                <a:moveTo>
                  <a:pt x="5549767" y="3554309"/>
                </a:moveTo>
                <a:lnTo>
                  <a:pt x="5692157" y="3554309"/>
                </a:lnTo>
                <a:lnTo>
                  <a:pt x="5692157" y="3694293"/>
                </a:lnTo>
                <a:cubicBezTo>
                  <a:pt x="5671489" y="3626511"/>
                  <a:pt x="5617889" y="3573816"/>
                  <a:pt x="5549767" y="3554309"/>
                </a:cubicBezTo>
                <a:close/>
                <a:moveTo>
                  <a:pt x="5305472" y="3548725"/>
                </a:moveTo>
                <a:lnTo>
                  <a:pt x="5304774" y="3555071"/>
                </a:lnTo>
                <a:cubicBezTo>
                  <a:pt x="5392874" y="3567529"/>
                  <a:pt x="5462602" y="3635896"/>
                  <a:pt x="5476796" y="3723738"/>
                </a:cubicBezTo>
                <a:lnTo>
                  <a:pt x="5483141" y="3723230"/>
                </a:lnTo>
                <a:lnTo>
                  <a:pt x="5483141" y="3548725"/>
                </a:lnTo>
                <a:close/>
                <a:moveTo>
                  <a:pt x="5520452" y="3547964"/>
                </a:moveTo>
                <a:lnTo>
                  <a:pt x="5520452" y="3554246"/>
                </a:lnTo>
                <a:cubicBezTo>
                  <a:pt x="5608282" y="3566984"/>
                  <a:pt x="5677664" y="3635289"/>
                  <a:pt x="5691777" y="3722913"/>
                </a:cubicBezTo>
                <a:lnTo>
                  <a:pt x="5698122" y="3722468"/>
                </a:lnTo>
                <a:lnTo>
                  <a:pt x="5698122" y="3547964"/>
                </a:lnTo>
                <a:close/>
                <a:moveTo>
                  <a:pt x="5337959" y="3340969"/>
                </a:moveTo>
                <a:lnTo>
                  <a:pt x="5480349" y="3340969"/>
                </a:lnTo>
                <a:lnTo>
                  <a:pt x="5480349" y="3480953"/>
                </a:lnTo>
                <a:cubicBezTo>
                  <a:pt x="5459620" y="3413209"/>
                  <a:pt x="5406045" y="3360539"/>
                  <a:pt x="5337959" y="3340969"/>
                </a:cubicBezTo>
                <a:close/>
                <a:moveTo>
                  <a:pt x="5552876" y="3340144"/>
                </a:moveTo>
                <a:lnTo>
                  <a:pt x="5695266" y="3340144"/>
                </a:lnTo>
                <a:lnTo>
                  <a:pt x="5695266" y="3480192"/>
                </a:lnTo>
                <a:cubicBezTo>
                  <a:pt x="5674555" y="3412423"/>
                  <a:pt x="5620977" y="3359726"/>
                  <a:pt x="5552876" y="3340144"/>
                </a:cubicBezTo>
                <a:close/>
                <a:moveTo>
                  <a:pt x="5308581" y="3334560"/>
                </a:moveTo>
                <a:lnTo>
                  <a:pt x="5308137" y="3340906"/>
                </a:lnTo>
                <a:cubicBezTo>
                  <a:pt x="5396233" y="3353397"/>
                  <a:pt x="5465934" y="3421790"/>
                  <a:pt x="5480096" y="3509636"/>
                </a:cubicBezTo>
                <a:lnTo>
                  <a:pt x="5486441" y="3509129"/>
                </a:lnTo>
                <a:lnTo>
                  <a:pt x="5486251" y="3334560"/>
                </a:lnTo>
                <a:close/>
                <a:moveTo>
                  <a:pt x="5523498" y="3333863"/>
                </a:moveTo>
                <a:lnTo>
                  <a:pt x="5522990" y="3340208"/>
                </a:lnTo>
                <a:cubicBezTo>
                  <a:pt x="5611091" y="3352666"/>
                  <a:pt x="5680819" y="3421034"/>
                  <a:pt x="5695013" y="3508875"/>
                </a:cubicBezTo>
                <a:lnTo>
                  <a:pt x="5701358" y="3508367"/>
                </a:lnTo>
                <a:lnTo>
                  <a:pt x="5701168" y="3333863"/>
                </a:lnTo>
                <a:close/>
                <a:moveTo>
                  <a:pt x="0" y="0"/>
                </a:moveTo>
                <a:lnTo>
                  <a:pt x="5723503" y="0"/>
                </a:lnTo>
                <a:lnTo>
                  <a:pt x="5723503" y="6079105"/>
                </a:lnTo>
                <a:lnTo>
                  <a:pt x="0" y="6079105"/>
                </a:lnTo>
                <a:close/>
              </a:path>
            </a:pathLst>
          </a:custGeom>
          <a:solidFill>
            <a:schemeClr val="bg2"/>
          </a:solidFill>
        </p:spPr>
      </p:pic>
    </p:spTree>
    <p:extLst>
      <p:ext uri="{BB962C8B-B14F-4D97-AF65-F5344CB8AC3E}">
        <p14:creationId xmlns:p14="http://schemas.microsoft.com/office/powerpoint/2010/main" val="1217427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DD471D6-5B68-4AE5-B2D3-D449D7BB23CE}"/>
              </a:ext>
            </a:extLst>
          </p:cNvPr>
          <p:cNvGraphicFramePr>
            <a:graphicFrameLocks noChangeAspect="1"/>
          </p:cNvGraphicFramePr>
          <p:nvPr>
            <p:custDataLst>
              <p:tags r:id="rId1"/>
            </p:custDataLst>
            <p:extLst>
              <p:ext uri="{D42A27DB-BD31-4B8C-83A1-F6EECF244321}">
                <p14:modId xmlns:p14="http://schemas.microsoft.com/office/powerpoint/2010/main" val="3971633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1DD471D6-5B68-4AE5-B2D3-D449D7BB2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5CA7237-5330-4D4E-88EC-7E66266E864D}"/>
              </a:ext>
            </a:extLst>
          </p:cNvPr>
          <p:cNvSpPr>
            <a:spLocks noGrp="1"/>
          </p:cNvSpPr>
          <p:nvPr>
            <p:ph type="title"/>
          </p:nvPr>
        </p:nvSpPr>
        <p:spPr>
          <a:xfrm>
            <a:off x="616527" y="2428652"/>
            <a:ext cx="2761673" cy="480131"/>
          </a:xfrm>
        </p:spPr>
        <p:txBody>
          <a:bodyPr vert="horz"/>
          <a:lstStyle/>
          <a:p>
            <a:r>
              <a:rPr lang="zh-CN" altLang="en-US"/>
              <a:t>药品基本信息</a:t>
            </a:r>
          </a:p>
        </p:txBody>
      </p:sp>
      <p:sp>
        <p:nvSpPr>
          <p:cNvPr id="4" name="文本占位符 3">
            <a:extLst>
              <a:ext uri="{FF2B5EF4-FFF2-40B4-BE49-F238E27FC236}">
                <a16:creationId xmlns:a16="http://schemas.microsoft.com/office/drawing/2014/main" id="{185AA088-6AC9-4E87-BC2C-05D9427960FF}"/>
              </a:ext>
            </a:extLst>
          </p:cNvPr>
          <p:cNvSpPr>
            <a:spLocks noGrp="1"/>
          </p:cNvSpPr>
          <p:nvPr>
            <p:ph type="body" sz="quarter" idx="11"/>
          </p:nvPr>
        </p:nvSpPr>
        <p:spPr/>
        <p:txBody>
          <a:bodyPr/>
          <a:lstStyle/>
          <a:p>
            <a:endParaRPr lang="zh-CN" altLang="en-US"/>
          </a:p>
        </p:txBody>
      </p:sp>
      <p:pic>
        <p:nvPicPr>
          <p:cNvPr id="16" name="内容占位符 15" descr="图标&#10;&#10;描述已自动生成">
            <a:extLst>
              <a:ext uri="{FF2B5EF4-FFF2-40B4-BE49-F238E27FC236}">
                <a16:creationId xmlns:a16="http://schemas.microsoft.com/office/drawing/2014/main" id="{9185A21A-DD95-450E-A712-B89F651D71EB}"/>
              </a:ext>
            </a:extLst>
          </p:cNvPr>
          <p:cNvPicPr>
            <a:picLocks noGrp="1" noChangeAspect="1"/>
          </p:cNvPicPr>
          <p:nvPr>
            <p:ph sz="quarter" idx="12"/>
          </p:nvPr>
        </p:nvPicPr>
        <p:blipFill>
          <a:blip r:embed="rId5">
            <a:duotone>
              <a:schemeClr val="accent1">
                <a:shade val="45000"/>
                <a:satMod val="135000"/>
              </a:schemeClr>
              <a:prstClr val="white"/>
            </a:duotone>
          </a:blip>
          <a:stretch>
            <a:fillRect/>
          </a:stretch>
        </p:blipFill>
        <p:spPr>
          <a:xfrm>
            <a:off x="5122960" y="1060814"/>
            <a:ext cx="855916" cy="855659"/>
          </a:xfrm>
        </p:spPr>
      </p:pic>
      <p:sp>
        <p:nvSpPr>
          <p:cNvPr id="17" name="文本框 16">
            <a:extLst>
              <a:ext uri="{FF2B5EF4-FFF2-40B4-BE49-F238E27FC236}">
                <a16:creationId xmlns:a16="http://schemas.microsoft.com/office/drawing/2014/main" id="{59BE044A-3698-4DD1-ABF2-23CBCF2837B4}"/>
              </a:ext>
            </a:extLst>
          </p:cNvPr>
          <p:cNvSpPr txBox="1"/>
          <p:nvPr/>
        </p:nvSpPr>
        <p:spPr>
          <a:xfrm>
            <a:off x="6204154" y="1342903"/>
            <a:ext cx="4805222" cy="4335418"/>
          </a:xfrm>
          <a:prstGeom prst="rect">
            <a:avLst/>
          </a:prstGeom>
          <a:noFill/>
        </p:spPr>
        <p:txBody>
          <a:bodyPr wrap="square" rtlCol="0">
            <a:spAutoFit/>
          </a:bodyPr>
          <a:lstStyle/>
          <a:p>
            <a:pPr algn="l">
              <a:lnSpc>
                <a:spcPct val="200000"/>
              </a:lnSpc>
            </a:pPr>
            <a:r>
              <a:rPr lang="zh-CN" altLang="en-US" sz="1400"/>
              <a:t>通用名：</a:t>
            </a:r>
            <a:r>
              <a:rPr lang="zh-CN" altLang="en-US" sz="1400">
                <a:solidFill>
                  <a:srgbClr val="001489"/>
                </a:solidFill>
              </a:rPr>
              <a:t>拉考沙胺口服溶液</a:t>
            </a:r>
            <a:endParaRPr lang="en-US" altLang="zh-CN" sz="1400">
              <a:solidFill>
                <a:srgbClr val="001489"/>
              </a:solidFill>
            </a:endParaRPr>
          </a:p>
          <a:p>
            <a:pPr algn="l">
              <a:lnSpc>
                <a:spcPct val="200000"/>
              </a:lnSpc>
            </a:pPr>
            <a:r>
              <a:rPr lang="zh-CN" altLang="en-US" sz="1400"/>
              <a:t>注册规格：</a:t>
            </a:r>
            <a:r>
              <a:rPr lang="en-US" altLang="zh-CN" sz="1400">
                <a:solidFill>
                  <a:srgbClr val="001489"/>
                </a:solidFill>
              </a:rPr>
              <a:t>200ml:2g</a:t>
            </a:r>
          </a:p>
          <a:p>
            <a:pPr algn="l">
              <a:lnSpc>
                <a:spcPct val="200000"/>
              </a:lnSpc>
            </a:pPr>
            <a:r>
              <a:rPr lang="zh-CN" altLang="en-US" sz="1400"/>
              <a:t>中国大陆首次上市时间：</a:t>
            </a:r>
            <a:r>
              <a:rPr lang="en-US" altLang="zh-CN" sz="1400">
                <a:solidFill>
                  <a:srgbClr val="001489"/>
                </a:solidFill>
              </a:rPr>
              <a:t>2020</a:t>
            </a:r>
            <a:r>
              <a:rPr lang="zh-CN" altLang="en-US" sz="1400">
                <a:solidFill>
                  <a:srgbClr val="001489"/>
                </a:solidFill>
              </a:rPr>
              <a:t>年</a:t>
            </a:r>
            <a:endParaRPr lang="en-US" altLang="zh-CN" sz="1400">
              <a:solidFill>
                <a:srgbClr val="001489"/>
              </a:solidFill>
            </a:endParaRPr>
          </a:p>
          <a:p>
            <a:pPr algn="l">
              <a:lnSpc>
                <a:spcPct val="200000"/>
              </a:lnSpc>
            </a:pPr>
            <a:r>
              <a:rPr lang="zh-CN" altLang="en-US" sz="1400"/>
              <a:t>目前大陆地区同通用名药品的上市情况：</a:t>
            </a:r>
            <a:r>
              <a:rPr lang="zh-CN" altLang="en-US" sz="1400">
                <a:solidFill>
                  <a:srgbClr val="001489"/>
                </a:solidFill>
              </a:rPr>
              <a:t>共</a:t>
            </a:r>
            <a:r>
              <a:rPr lang="en-US" altLang="zh-CN" sz="1400">
                <a:solidFill>
                  <a:srgbClr val="001489"/>
                </a:solidFill>
              </a:rPr>
              <a:t>2</a:t>
            </a:r>
            <a:r>
              <a:rPr lang="zh-CN" altLang="en-US" sz="1400">
                <a:solidFill>
                  <a:srgbClr val="001489"/>
                </a:solidFill>
              </a:rPr>
              <a:t>家</a:t>
            </a:r>
            <a:endParaRPr lang="en-US" altLang="zh-CN" sz="1400">
              <a:solidFill>
                <a:srgbClr val="001489"/>
              </a:solidFill>
            </a:endParaRPr>
          </a:p>
          <a:p>
            <a:pPr algn="l">
              <a:lnSpc>
                <a:spcPct val="200000"/>
              </a:lnSpc>
            </a:pPr>
            <a:r>
              <a:rPr lang="zh-CN" altLang="en-US" sz="1400"/>
              <a:t>全球首个上市国家</a:t>
            </a:r>
            <a:r>
              <a:rPr lang="en-US" altLang="zh-CN" sz="1400"/>
              <a:t>/</a:t>
            </a:r>
            <a:r>
              <a:rPr lang="zh-CN" altLang="en-US" sz="1400"/>
              <a:t>地区及上市时间：</a:t>
            </a:r>
            <a:r>
              <a:rPr lang="en-US" altLang="zh-CN" sz="1400">
                <a:solidFill>
                  <a:srgbClr val="001489"/>
                </a:solidFill>
              </a:rPr>
              <a:t>2010</a:t>
            </a:r>
            <a:r>
              <a:rPr lang="zh-CN" altLang="en-US" sz="1400">
                <a:solidFill>
                  <a:srgbClr val="001489"/>
                </a:solidFill>
              </a:rPr>
              <a:t>年，美国</a:t>
            </a:r>
            <a:r>
              <a:rPr lang="en-US" altLang="zh-CN" sz="1400">
                <a:solidFill>
                  <a:srgbClr val="001489"/>
                </a:solidFill>
              </a:rPr>
              <a:t>/</a:t>
            </a:r>
            <a:r>
              <a:rPr lang="zh-CN" altLang="en-US" sz="1400">
                <a:solidFill>
                  <a:srgbClr val="001489"/>
                </a:solidFill>
              </a:rPr>
              <a:t>欧洲</a:t>
            </a:r>
            <a:endParaRPr lang="en-US" altLang="zh-CN" sz="1400">
              <a:solidFill>
                <a:srgbClr val="001489"/>
              </a:solidFill>
            </a:endParaRPr>
          </a:p>
          <a:p>
            <a:pPr algn="l">
              <a:lnSpc>
                <a:spcPct val="200000"/>
              </a:lnSpc>
            </a:pPr>
            <a:r>
              <a:rPr lang="zh-CN" altLang="en-US" sz="1400"/>
              <a:t>是否为</a:t>
            </a:r>
            <a:r>
              <a:rPr lang="en-US" altLang="zh-CN" sz="1400"/>
              <a:t>OTC</a:t>
            </a:r>
            <a:r>
              <a:rPr lang="zh-CN" altLang="en-US" sz="1400"/>
              <a:t>药品：</a:t>
            </a:r>
            <a:r>
              <a:rPr lang="zh-CN" altLang="en-US" sz="1400">
                <a:solidFill>
                  <a:srgbClr val="001489"/>
                </a:solidFill>
              </a:rPr>
              <a:t>否</a:t>
            </a:r>
            <a:endParaRPr lang="en-US" altLang="zh-CN" sz="1400">
              <a:solidFill>
                <a:srgbClr val="001489"/>
              </a:solidFill>
            </a:endParaRPr>
          </a:p>
          <a:p>
            <a:pPr algn="l">
              <a:lnSpc>
                <a:spcPct val="200000"/>
              </a:lnSpc>
            </a:pPr>
            <a:r>
              <a:rPr lang="zh-CN" altLang="en-US" sz="1400"/>
              <a:t>参照药品建议：</a:t>
            </a:r>
            <a:r>
              <a:rPr lang="zh-CN" altLang="en-US" sz="1400">
                <a:solidFill>
                  <a:srgbClr val="001489"/>
                </a:solidFill>
              </a:rPr>
              <a:t>拉考沙胺片剂</a:t>
            </a:r>
            <a:endParaRPr lang="en-US" altLang="zh-CN" sz="1400">
              <a:solidFill>
                <a:srgbClr val="001489"/>
              </a:solidFill>
            </a:endParaRPr>
          </a:p>
          <a:p>
            <a:pPr marL="285750" indent="-285750" algn="l">
              <a:lnSpc>
                <a:spcPct val="200000"/>
              </a:lnSpc>
              <a:buFont typeface="Arial" panose="020B0604020202020204" pitchFamily="34" charset="0"/>
              <a:buChar char="•"/>
            </a:pPr>
            <a:r>
              <a:rPr lang="zh-CN" altLang="en-US" sz="1400"/>
              <a:t>理由：拉考沙胺口服溶液是片剂的补充，精准取量，更适合儿童使用，且单位有效含量定价与目录内片剂</a:t>
            </a:r>
            <a:r>
              <a:rPr lang="en-US" altLang="zh-CN" sz="1400"/>
              <a:t>100mg</a:t>
            </a:r>
            <a:r>
              <a:rPr lang="zh-CN" altLang="en-US" sz="1400"/>
              <a:t>一样</a:t>
            </a:r>
          </a:p>
        </p:txBody>
      </p:sp>
      <p:sp>
        <p:nvSpPr>
          <p:cNvPr id="20" name="矩形 19">
            <a:extLst>
              <a:ext uri="{FF2B5EF4-FFF2-40B4-BE49-F238E27FC236}">
                <a16:creationId xmlns:a16="http://schemas.microsoft.com/office/drawing/2014/main" id="{C803AE18-3D7A-4B81-9E5C-C3E080FA3136}"/>
              </a:ext>
            </a:extLst>
          </p:cNvPr>
          <p:cNvSpPr/>
          <p:nvPr/>
        </p:nvSpPr>
        <p:spPr>
          <a:xfrm>
            <a:off x="616527" y="0"/>
            <a:ext cx="711941" cy="1604513"/>
          </a:xfrm>
          <a:prstGeom prst="rect">
            <a:avLst/>
          </a:prstGeom>
          <a:solidFill>
            <a:srgbClr val="001489"/>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schemeClr val="accent1"/>
              </a:solidFill>
            </a:endParaRPr>
          </a:p>
        </p:txBody>
      </p:sp>
      <p:sp>
        <p:nvSpPr>
          <p:cNvPr id="21" name="椭圆 20">
            <a:extLst>
              <a:ext uri="{FF2B5EF4-FFF2-40B4-BE49-F238E27FC236}">
                <a16:creationId xmlns:a16="http://schemas.microsoft.com/office/drawing/2014/main" id="{E203A543-C327-46AE-979E-667004726BCF}"/>
              </a:ext>
            </a:extLst>
          </p:cNvPr>
          <p:cNvSpPr/>
          <p:nvPr/>
        </p:nvSpPr>
        <p:spPr>
          <a:xfrm>
            <a:off x="616527" y="1292553"/>
            <a:ext cx="720567" cy="623920"/>
          </a:xfrm>
          <a:prstGeom prst="ellipse">
            <a:avLst/>
          </a:prstGeom>
          <a:solidFill>
            <a:srgbClr val="0014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solidFill>
                <a:schemeClr val="accent1"/>
              </a:solidFill>
            </a:endParaRPr>
          </a:p>
        </p:txBody>
      </p:sp>
      <p:pic>
        <p:nvPicPr>
          <p:cNvPr id="1028" name="Picture 4">
            <a:extLst>
              <a:ext uri="{FF2B5EF4-FFF2-40B4-BE49-F238E27FC236}">
                <a16:creationId xmlns:a16="http://schemas.microsoft.com/office/drawing/2014/main" id="{AEF614F6-FD76-4755-98A0-D921F006C8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7497" y="3949218"/>
            <a:ext cx="1076371" cy="648722"/>
          </a:xfrm>
          <a:prstGeom prst="rect">
            <a:avLst/>
          </a:prstGeom>
          <a:noFill/>
          <a:extLst>
            <a:ext uri="{909E8E84-426E-40DD-AFC4-6F175D3DCCD1}">
              <a14:hiddenFill xmlns:a14="http://schemas.microsoft.com/office/drawing/2010/main">
                <a:solidFill>
                  <a:srgbClr val="FFFFFF"/>
                </a:solidFill>
              </a14:hiddenFill>
            </a:ext>
          </a:extLst>
        </p:spPr>
      </p:pic>
      <p:sp>
        <p:nvSpPr>
          <p:cNvPr id="22" name="文本框 21">
            <a:extLst>
              <a:ext uri="{FF2B5EF4-FFF2-40B4-BE49-F238E27FC236}">
                <a16:creationId xmlns:a16="http://schemas.microsoft.com/office/drawing/2014/main" id="{6D1660C0-E3A0-4F04-9193-A7F00EBF1BCA}"/>
              </a:ext>
            </a:extLst>
          </p:cNvPr>
          <p:cNvSpPr txBox="1"/>
          <p:nvPr/>
        </p:nvSpPr>
        <p:spPr>
          <a:xfrm>
            <a:off x="765549" y="1266818"/>
            <a:ext cx="413896" cy="523220"/>
          </a:xfrm>
          <a:prstGeom prst="rect">
            <a:avLst/>
          </a:prstGeom>
          <a:noFill/>
        </p:spPr>
        <p:txBody>
          <a:bodyPr wrap="none" rtlCol="0">
            <a:spAutoFit/>
          </a:bodyPr>
          <a:lstStyle/>
          <a:p>
            <a:pPr algn="l"/>
            <a:r>
              <a:rPr lang="en-US" altLang="zh-CN" sz="2800" b="1">
                <a:solidFill>
                  <a:schemeClr val="bg1"/>
                </a:solidFill>
              </a:rPr>
              <a:t>1</a:t>
            </a:r>
            <a:endParaRPr lang="zh-CN" altLang="en-US" sz="2800" b="1">
              <a:solidFill>
                <a:schemeClr val="bg1"/>
              </a:solidFill>
            </a:endParaRPr>
          </a:p>
        </p:txBody>
      </p:sp>
      <p:cxnSp>
        <p:nvCxnSpPr>
          <p:cNvPr id="24" name="直接连接符 23">
            <a:extLst>
              <a:ext uri="{FF2B5EF4-FFF2-40B4-BE49-F238E27FC236}">
                <a16:creationId xmlns:a16="http://schemas.microsoft.com/office/drawing/2014/main" id="{D94C7BF8-C41A-40D5-B347-1660ACFFE482}"/>
              </a:ext>
            </a:extLst>
          </p:cNvPr>
          <p:cNvCxnSpPr/>
          <p:nvPr/>
        </p:nvCxnSpPr>
        <p:spPr>
          <a:xfrm>
            <a:off x="616527" y="3175000"/>
            <a:ext cx="936251"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7" name="图片 26">
            <a:extLst>
              <a:ext uri="{FF2B5EF4-FFF2-40B4-BE49-F238E27FC236}">
                <a16:creationId xmlns:a16="http://schemas.microsoft.com/office/drawing/2014/main" id="{8C86FF3D-C176-4A4A-9E37-323970040F7E}"/>
              </a:ext>
            </a:extLst>
          </p:cNvPr>
          <p:cNvPicPr>
            <a:picLocks noChangeAspect="1"/>
          </p:cNvPicPr>
          <p:nvPr/>
        </p:nvPicPr>
        <p:blipFill>
          <a:blip r:embed="rId7"/>
          <a:stretch>
            <a:fillRect/>
          </a:stretch>
        </p:blipFill>
        <p:spPr>
          <a:xfrm>
            <a:off x="1735960" y="3441218"/>
            <a:ext cx="2515534" cy="19396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7181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60A6D52F-5287-4892-97F5-54C74476B387}"/>
              </a:ext>
            </a:extLst>
          </p:cNvPr>
          <p:cNvGraphicFramePr>
            <a:graphicFrameLocks noChangeAspect="1"/>
          </p:cNvGraphicFramePr>
          <p:nvPr>
            <p:custDataLst>
              <p:tags r:id="rId1"/>
            </p:custDataLst>
            <p:extLst>
              <p:ext uri="{D42A27DB-BD31-4B8C-83A1-F6EECF244321}">
                <p14:modId xmlns:p14="http://schemas.microsoft.com/office/powerpoint/2010/main" val="132117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60A6D52F-5287-4892-97F5-54C74476B3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FE25D879-E4BE-438D-9B09-8C8ED106D11C}"/>
              </a:ext>
            </a:extLst>
          </p:cNvPr>
          <p:cNvSpPr>
            <a:spLocks noGrp="1"/>
          </p:cNvSpPr>
          <p:nvPr>
            <p:ph type="title"/>
          </p:nvPr>
        </p:nvSpPr>
        <p:spPr/>
        <p:txBody>
          <a:bodyPr vert="horz"/>
          <a:lstStyle/>
          <a:p>
            <a:r>
              <a:rPr lang="en-US" altLang="zh-CN"/>
              <a:t>1. </a:t>
            </a:r>
            <a:r>
              <a:rPr lang="zh-CN" altLang="en-US"/>
              <a:t>药品基本信息</a:t>
            </a:r>
          </a:p>
        </p:txBody>
      </p:sp>
      <p:sp>
        <p:nvSpPr>
          <p:cNvPr id="4" name="文本占位符 3">
            <a:extLst>
              <a:ext uri="{FF2B5EF4-FFF2-40B4-BE49-F238E27FC236}">
                <a16:creationId xmlns:a16="http://schemas.microsoft.com/office/drawing/2014/main" id="{BDB54E2D-EF73-4ADC-B75E-F92596DF8E6C}"/>
              </a:ext>
            </a:extLst>
          </p:cNvPr>
          <p:cNvSpPr>
            <a:spLocks noGrp="1"/>
          </p:cNvSpPr>
          <p:nvPr>
            <p:ph type="body" sz="quarter" idx="11"/>
          </p:nvPr>
        </p:nvSpPr>
        <p:spPr/>
        <p:txBody>
          <a:bodyPr/>
          <a:lstStyle/>
          <a:p>
            <a:r>
              <a:rPr lang="en-US" altLang="zh-CN"/>
              <a:t>1.</a:t>
            </a:r>
            <a:r>
              <a:rPr lang="zh-CN" altLang="en-US"/>
              <a:t>中国癫痫诊疗指南</a:t>
            </a:r>
            <a:r>
              <a:rPr lang="en-US" altLang="zh-CN"/>
              <a:t>. 2015</a:t>
            </a:r>
            <a:r>
              <a:rPr lang="zh-CN" altLang="en-US"/>
              <a:t>修订版</a:t>
            </a:r>
          </a:p>
        </p:txBody>
      </p:sp>
      <p:sp>
        <p:nvSpPr>
          <p:cNvPr id="15" name="文本框 14">
            <a:extLst>
              <a:ext uri="{FF2B5EF4-FFF2-40B4-BE49-F238E27FC236}">
                <a16:creationId xmlns:a16="http://schemas.microsoft.com/office/drawing/2014/main" id="{379A7889-5D2D-4CCD-938B-2C35369E2B0D}"/>
              </a:ext>
            </a:extLst>
          </p:cNvPr>
          <p:cNvSpPr txBox="1"/>
          <p:nvPr/>
        </p:nvSpPr>
        <p:spPr>
          <a:xfrm>
            <a:off x="1627649" y="1141461"/>
            <a:ext cx="800219" cy="338554"/>
          </a:xfrm>
          <a:prstGeom prst="rect">
            <a:avLst/>
          </a:prstGeom>
          <a:noFill/>
        </p:spPr>
        <p:txBody>
          <a:bodyPr wrap="none" rtlCol="0">
            <a:spAutoFit/>
          </a:bodyPr>
          <a:lstStyle/>
          <a:p>
            <a:pPr algn="l"/>
            <a:r>
              <a:rPr lang="zh-CN" altLang="en-US" sz="1600" b="1">
                <a:solidFill>
                  <a:srgbClr val="001489"/>
                </a:solidFill>
              </a:rPr>
              <a:t>适应症</a:t>
            </a:r>
          </a:p>
        </p:txBody>
      </p:sp>
      <p:cxnSp>
        <p:nvCxnSpPr>
          <p:cNvPr id="16" name="直接连接符 15">
            <a:extLst>
              <a:ext uri="{FF2B5EF4-FFF2-40B4-BE49-F238E27FC236}">
                <a16:creationId xmlns:a16="http://schemas.microsoft.com/office/drawing/2014/main" id="{A503814C-4C0B-4607-9364-25D4CA778282}"/>
              </a:ext>
            </a:extLst>
          </p:cNvPr>
          <p:cNvCxnSpPr>
            <a:cxnSpLocks/>
          </p:cNvCxnSpPr>
          <p:nvPr/>
        </p:nvCxnSpPr>
        <p:spPr>
          <a:xfrm>
            <a:off x="1722851" y="1549400"/>
            <a:ext cx="653473"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 name="文本框 18">
            <a:extLst>
              <a:ext uri="{FF2B5EF4-FFF2-40B4-BE49-F238E27FC236}">
                <a16:creationId xmlns:a16="http://schemas.microsoft.com/office/drawing/2014/main" id="{5D714A4A-A2FE-49CE-BF02-5D7DEC5FD8B0}"/>
              </a:ext>
            </a:extLst>
          </p:cNvPr>
          <p:cNvSpPr txBox="1"/>
          <p:nvPr/>
        </p:nvSpPr>
        <p:spPr>
          <a:xfrm>
            <a:off x="1627649" y="1710857"/>
            <a:ext cx="6096000" cy="292388"/>
          </a:xfrm>
          <a:prstGeom prst="rect">
            <a:avLst/>
          </a:prstGeom>
          <a:noFill/>
        </p:spPr>
        <p:txBody>
          <a:bodyPr wrap="square">
            <a:spAutoFit/>
          </a:bodyPr>
          <a:lstStyle/>
          <a:p>
            <a:r>
              <a:rPr lang="zh-CN" altLang="en-US" sz="1300"/>
              <a:t>本品适用于</a:t>
            </a:r>
            <a:r>
              <a:rPr lang="en-US" altLang="zh-CN" sz="1300"/>
              <a:t>4</a:t>
            </a:r>
            <a:r>
              <a:rPr lang="zh-CN" altLang="en-US" sz="1300"/>
              <a:t>岁及以上癫痫患者部分性发作的联合治疗</a:t>
            </a:r>
          </a:p>
        </p:txBody>
      </p:sp>
      <p:sp>
        <p:nvSpPr>
          <p:cNvPr id="21" name="文本框 20">
            <a:extLst>
              <a:ext uri="{FF2B5EF4-FFF2-40B4-BE49-F238E27FC236}">
                <a16:creationId xmlns:a16="http://schemas.microsoft.com/office/drawing/2014/main" id="{F9F67219-C2B9-4598-9375-6E8A493EBA7F}"/>
              </a:ext>
            </a:extLst>
          </p:cNvPr>
          <p:cNvSpPr txBox="1"/>
          <p:nvPr/>
        </p:nvSpPr>
        <p:spPr>
          <a:xfrm>
            <a:off x="1631065" y="2337596"/>
            <a:ext cx="1547218" cy="338554"/>
          </a:xfrm>
          <a:prstGeom prst="rect">
            <a:avLst/>
          </a:prstGeom>
          <a:noFill/>
        </p:spPr>
        <p:txBody>
          <a:bodyPr wrap="none" rtlCol="0">
            <a:spAutoFit/>
          </a:bodyPr>
          <a:lstStyle/>
          <a:p>
            <a:pPr algn="l"/>
            <a:r>
              <a:rPr lang="zh-CN" altLang="en-US" sz="1600" b="1">
                <a:solidFill>
                  <a:srgbClr val="001489"/>
                </a:solidFill>
              </a:rPr>
              <a:t>疾病基本情况</a:t>
            </a:r>
            <a:r>
              <a:rPr lang="en-US" altLang="zh-CN" sz="1600" b="1" baseline="30000">
                <a:solidFill>
                  <a:srgbClr val="001489"/>
                </a:solidFill>
              </a:rPr>
              <a:t>1</a:t>
            </a:r>
            <a:endParaRPr lang="zh-CN" altLang="en-US" sz="1600" b="1" baseline="30000">
              <a:solidFill>
                <a:srgbClr val="001489"/>
              </a:solidFill>
            </a:endParaRPr>
          </a:p>
        </p:txBody>
      </p:sp>
      <p:cxnSp>
        <p:nvCxnSpPr>
          <p:cNvPr id="22" name="直接连接符 21">
            <a:extLst>
              <a:ext uri="{FF2B5EF4-FFF2-40B4-BE49-F238E27FC236}">
                <a16:creationId xmlns:a16="http://schemas.microsoft.com/office/drawing/2014/main" id="{00B9765A-93DD-4B04-97EA-626F175BC702}"/>
              </a:ext>
            </a:extLst>
          </p:cNvPr>
          <p:cNvCxnSpPr>
            <a:cxnSpLocks/>
          </p:cNvCxnSpPr>
          <p:nvPr/>
        </p:nvCxnSpPr>
        <p:spPr>
          <a:xfrm>
            <a:off x="1726267" y="2745535"/>
            <a:ext cx="653473"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3" name="文本框 22">
            <a:extLst>
              <a:ext uri="{FF2B5EF4-FFF2-40B4-BE49-F238E27FC236}">
                <a16:creationId xmlns:a16="http://schemas.microsoft.com/office/drawing/2014/main" id="{C1C5EE47-F8D3-4C9F-9E3A-C2AC34EE22B6}"/>
              </a:ext>
            </a:extLst>
          </p:cNvPr>
          <p:cNvSpPr txBox="1"/>
          <p:nvPr/>
        </p:nvSpPr>
        <p:spPr>
          <a:xfrm>
            <a:off x="1627649" y="2933854"/>
            <a:ext cx="9747992" cy="1092607"/>
          </a:xfrm>
          <a:prstGeom prst="rect">
            <a:avLst/>
          </a:prstGeom>
          <a:noFill/>
        </p:spPr>
        <p:txBody>
          <a:bodyPr wrap="square">
            <a:spAutoFit/>
          </a:bodyPr>
          <a:lstStyle/>
          <a:p>
            <a:r>
              <a:rPr lang="zh-CN" altLang="en-US" sz="1300"/>
              <a:t>癫痫是一种由多种病因引起的慢性脑部疾病，以脑神经元过度放电导致反复性、发作性和短暂性的中枢神经系统功能失常为特征。 国内流行病学资料显示，我国癫痫的患病率在</a:t>
            </a:r>
            <a:r>
              <a:rPr lang="en-US" altLang="zh-CN" sz="1300"/>
              <a:t>4‰</a:t>
            </a:r>
            <a:r>
              <a:rPr lang="zh-CN" altLang="en-US" sz="1300"/>
              <a:t>到</a:t>
            </a:r>
            <a:r>
              <a:rPr lang="en-US" altLang="zh-CN" sz="1300"/>
              <a:t>7‰</a:t>
            </a:r>
            <a:r>
              <a:rPr lang="zh-CN" altLang="en-US" sz="1300"/>
              <a:t>之间，活动性癫痫患病率为</a:t>
            </a:r>
            <a:r>
              <a:rPr lang="en-US" altLang="zh-CN" sz="1300"/>
              <a:t>4.6‰</a:t>
            </a:r>
            <a:r>
              <a:rPr lang="zh-CN" altLang="en-US" sz="1300"/>
              <a:t>，年发病率在</a:t>
            </a:r>
            <a:r>
              <a:rPr lang="en-US" altLang="zh-CN" sz="1300"/>
              <a:t>30/10</a:t>
            </a:r>
            <a:r>
              <a:rPr lang="zh-CN" altLang="en-US" sz="1300"/>
              <a:t>万左右。癫痫在儿童和青少年的发病率较高。据此估算，</a:t>
            </a:r>
            <a:r>
              <a:rPr lang="zh-CN" altLang="en-US" sz="1300" b="1"/>
              <a:t>我国约有</a:t>
            </a:r>
            <a:r>
              <a:rPr lang="en-US" altLang="zh-CN" sz="1300" b="1"/>
              <a:t>600</a:t>
            </a:r>
            <a:r>
              <a:rPr lang="zh-CN" altLang="en-US" sz="1300" b="1"/>
              <a:t>万左右的活动性癫痫患者，同时每年有</a:t>
            </a:r>
            <a:r>
              <a:rPr lang="en-US" altLang="zh-CN" sz="1300" b="1"/>
              <a:t>40</a:t>
            </a:r>
            <a:r>
              <a:rPr lang="zh-CN" altLang="en-US" sz="1300" b="1"/>
              <a:t>万左右新发癫痫患者。</a:t>
            </a:r>
            <a:endParaRPr lang="en-US" altLang="zh-CN" sz="1300" b="1"/>
          </a:p>
          <a:p>
            <a:r>
              <a:rPr lang="zh-CN" altLang="en-US" sz="1300" b="1"/>
              <a:t>部分性癫痫发作：</a:t>
            </a:r>
            <a:r>
              <a:rPr lang="zh-CN" altLang="en-US" sz="1300"/>
              <a:t>最初的临床发作表现和</a:t>
            </a:r>
            <a:r>
              <a:rPr lang="en-US" altLang="zh-CN" sz="1300"/>
              <a:t>EEG</a:t>
            </a:r>
            <a:r>
              <a:rPr lang="zh-CN" altLang="en-US" sz="1300"/>
              <a:t>改变提示“一侧大脑半球内的一组神经元首先受累”。按照有无意识障碍，进一步分为简单部分发作、复杂部分发作和继发全面性发作。</a:t>
            </a:r>
            <a:endParaRPr lang="zh-CN" altLang="en-US" sz="1300" baseline="30000"/>
          </a:p>
        </p:txBody>
      </p:sp>
      <p:sp>
        <p:nvSpPr>
          <p:cNvPr id="25" name="文本框 24">
            <a:extLst>
              <a:ext uri="{FF2B5EF4-FFF2-40B4-BE49-F238E27FC236}">
                <a16:creationId xmlns:a16="http://schemas.microsoft.com/office/drawing/2014/main" id="{803D961B-EFA5-4103-854D-DD1DCEEE011F}"/>
              </a:ext>
            </a:extLst>
          </p:cNvPr>
          <p:cNvSpPr txBox="1"/>
          <p:nvPr/>
        </p:nvSpPr>
        <p:spPr>
          <a:xfrm>
            <a:off x="1631065" y="4303428"/>
            <a:ext cx="1005403" cy="338554"/>
          </a:xfrm>
          <a:prstGeom prst="rect">
            <a:avLst/>
          </a:prstGeom>
          <a:noFill/>
        </p:spPr>
        <p:txBody>
          <a:bodyPr wrap="none" rtlCol="0">
            <a:spAutoFit/>
          </a:bodyPr>
          <a:lstStyle/>
          <a:p>
            <a:pPr algn="l"/>
            <a:r>
              <a:rPr lang="zh-CN" altLang="en-US" sz="1600" b="1">
                <a:solidFill>
                  <a:srgbClr val="001489"/>
                </a:solidFill>
              </a:rPr>
              <a:t>用法用量</a:t>
            </a:r>
          </a:p>
        </p:txBody>
      </p:sp>
      <p:cxnSp>
        <p:nvCxnSpPr>
          <p:cNvPr id="26" name="直接连接符 25">
            <a:extLst>
              <a:ext uri="{FF2B5EF4-FFF2-40B4-BE49-F238E27FC236}">
                <a16:creationId xmlns:a16="http://schemas.microsoft.com/office/drawing/2014/main" id="{C357A582-FA87-469E-BAB6-0FAC6037C000}"/>
              </a:ext>
            </a:extLst>
          </p:cNvPr>
          <p:cNvCxnSpPr>
            <a:cxnSpLocks/>
          </p:cNvCxnSpPr>
          <p:nvPr/>
        </p:nvCxnSpPr>
        <p:spPr>
          <a:xfrm>
            <a:off x="1726267" y="4711367"/>
            <a:ext cx="653473"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7" name="文本框 26">
            <a:extLst>
              <a:ext uri="{FF2B5EF4-FFF2-40B4-BE49-F238E27FC236}">
                <a16:creationId xmlns:a16="http://schemas.microsoft.com/office/drawing/2014/main" id="{9CEDBA37-0268-48DB-8BCC-246C95F4EF64}"/>
              </a:ext>
            </a:extLst>
          </p:cNvPr>
          <p:cNvSpPr txBox="1"/>
          <p:nvPr/>
        </p:nvSpPr>
        <p:spPr>
          <a:xfrm>
            <a:off x="1631065" y="4916443"/>
            <a:ext cx="8967133" cy="1492716"/>
          </a:xfrm>
          <a:prstGeom prst="rect">
            <a:avLst/>
          </a:prstGeom>
          <a:noFill/>
        </p:spPr>
        <p:txBody>
          <a:bodyPr wrap="square">
            <a:spAutoFit/>
          </a:bodyPr>
          <a:lstStyle/>
          <a:p>
            <a:r>
              <a:rPr lang="en-US" altLang="zh-CN" sz="1300" u="sng">
                <a:solidFill>
                  <a:srgbClr val="001489"/>
                </a:solidFill>
              </a:rPr>
              <a:t>4</a:t>
            </a:r>
            <a:r>
              <a:rPr lang="zh-CN" altLang="en-US" sz="1300" u="sng">
                <a:solidFill>
                  <a:srgbClr val="001489"/>
                </a:solidFill>
              </a:rPr>
              <a:t>岁及以上儿童和青少年</a:t>
            </a:r>
            <a:endParaRPr lang="en-US" altLang="zh-CN" sz="1300" u="sng">
              <a:solidFill>
                <a:srgbClr val="001489"/>
              </a:solidFill>
            </a:endParaRPr>
          </a:p>
          <a:p>
            <a:r>
              <a:rPr lang="zh-CN" altLang="en-US" sz="1200"/>
              <a:t>体重≥</a:t>
            </a:r>
            <a:r>
              <a:rPr lang="en-US" altLang="zh-CN" sz="1200"/>
              <a:t>50kg</a:t>
            </a:r>
            <a:r>
              <a:rPr lang="zh-CN" altLang="en-US" sz="1200"/>
              <a:t>，服药剂量同成年患者</a:t>
            </a:r>
            <a:endParaRPr lang="en-US" altLang="zh-CN" sz="1200"/>
          </a:p>
          <a:p>
            <a:r>
              <a:rPr lang="zh-CN" altLang="en-US" sz="1200"/>
              <a:t>体重＜</a:t>
            </a:r>
            <a:r>
              <a:rPr lang="en-US" altLang="zh-CN" sz="1200"/>
              <a:t>50kg</a:t>
            </a:r>
            <a:r>
              <a:rPr lang="zh-CN" altLang="en-US" sz="1200"/>
              <a:t>，推荐起始剂量为</a:t>
            </a:r>
            <a:r>
              <a:rPr lang="en-US" altLang="zh-CN" sz="1200"/>
              <a:t>2mg/kg/</a:t>
            </a:r>
            <a:r>
              <a:rPr lang="zh-CN" altLang="en-US" sz="1200"/>
              <a:t>日，一周后增至初始治疗剂量</a:t>
            </a:r>
            <a:r>
              <a:rPr lang="en-US" altLang="zh-CN" sz="1200"/>
              <a:t>4mg/kg/</a:t>
            </a:r>
            <a:r>
              <a:rPr lang="zh-CN" altLang="en-US" sz="1200"/>
              <a:t>日</a:t>
            </a:r>
            <a:endParaRPr lang="en-US" altLang="zh-CN" sz="1200"/>
          </a:p>
          <a:p>
            <a:endParaRPr lang="en-US" altLang="zh-CN" sz="1300"/>
          </a:p>
          <a:p>
            <a:r>
              <a:rPr lang="zh-CN" altLang="en-US" sz="1300" u="sng">
                <a:solidFill>
                  <a:srgbClr val="001489"/>
                </a:solidFill>
              </a:rPr>
              <a:t>成人（</a:t>
            </a:r>
            <a:r>
              <a:rPr lang="en-US" altLang="zh-CN" sz="1300" u="sng">
                <a:solidFill>
                  <a:srgbClr val="001489"/>
                </a:solidFill>
              </a:rPr>
              <a:t>17</a:t>
            </a:r>
            <a:r>
              <a:rPr lang="zh-CN" altLang="en-US" sz="1300" u="sng">
                <a:solidFill>
                  <a:srgbClr val="001489"/>
                </a:solidFill>
              </a:rPr>
              <a:t>岁及以上）</a:t>
            </a:r>
            <a:endParaRPr lang="en-US" altLang="zh-CN" sz="1300" u="sng">
              <a:solidFill>
                <a:srgbClr val="001489"/>
              </a:solidFill>
            </a:endParaRPr>
          </a:p>
          <a:p>
            <a:r>
              <a:rPr lang="zh-CN" altLang="en-US" sz="1200"/>
              <a:t>推荐起始剂量为每次</a:t>
            </a:r>
            <a:r>
              <a:rPr lang="en-US" altLang="zh-CN" sz="1200"/>
              <a:t>50mg</a:t>
            </a:r>
            <a:r>
              <a:rPr lang="zh-CN" altLang="en-US" sz="1200"/>
              <a:t>，每日二次，一周后增加至每次</a:t>
            </a:r>
            <a:r>
              <a:rPr lang="en-US" altLang="zh-CN" sz="1200"/>
              <a:t>100mg</a:t>
            </a:r>
            <a:r>
              <a:rPr lang="zh-CN" altLang="en-US" sz="1200"/>
              <a:t>，每日二次的初始治疗剂量</a:t>
            </a:r>
            <a:endParaRPr lang="en-US" altLang="zh-CN" sz="1200"/>
          </a:p>
          <a:p>
            <a:endParaRPr lang="zh-CN" altLang="en-US" sz="1300"/>
          </a:p>
        </p:txBody>
      </p:sp>
      <p:pic>
        <p:nvPicPr>
          <p:cNvPr id="29" name="图片 28" descr="图标&#10;&#10;描述已自动生成">
            <a:extLst>
              <a:ext uri="{FF2B5EF4-FFF2-40B4-BE49-F238E27FC236}">
                <a16:creationId xmlns:a16="http://schemas.microsoft.com/office/drawing/2014/main" id="{75C54E30-7017-40D9-B818-52BA8EA4B8B4}"/>
              </a:ext>
            </a:extLst>
          </p:cNvPr>
          <p:cNvPicPr>
            <a:picLocks noChangeAspect="1"/>
          </p:cNvPicPr>
          <p:nvPr/>
        </p:nvPicPr>
        <p:blipFill>
          <a:blip r:embed="rId5">
            <a:duotone>
              <a:schemeClr val="accent1">
                <a:shade val="45000"/>
                <a:satMod val="135000"/>
              </a:schemeClr>
              <a:prstClr val="white"/>
            </a:duotone>
          </a:blip>
          <a:stretch>
            <a:fillRect/>
          </a:stretch>
        </p:blipFill>
        <p:spPr>
          <a:xfrm>
            <a:off x="726188" y="1209803"/>
            <a:ext cx="679397" cy="679193"/>
          </a:xfrm>
          <a:prstGeom prst="rect">
            <a:avLst/>
          </a:prstGeom>
        </p:spPr>
      </p:pic>
      <p:pic>
        <p:nvPicPr>
          <p:cNvPr id="30" name="图片 29" descr="图标&#10;&#10;描述已自动生成">
            <a:extLst>
              <a:ext uri="{FF2B5EF4-FFF2-40B4-BE49-F238E27FC236}">
                <a16:creationId xmlns:a16="http://schemas.microsoft.com/office/drawing/2014/main" id="{3C6D38F5-BBE9-4852-BF63-F91A8434C2CF}"/>
              </a:ext>
            </a:extLst>
          </p:cNvPr>
          <p:cNvPicPr>
            <a:picLocks noChangeAspect="1"/>
          </p:cNvPicPr>
          <p:nvPr/>
        </p:nvPicPr>
        <p:blipFill>
          <a:blip r:embed="rId5">
            <a:duotone>
              <a:schemeClr val="accent1">
                <a:shade val="45000"/>
                <a:satMod val="135000"/>
              </a:schemeClr>
              <a:prstClr val="white"/>
            </a:duotone>
          </a:blip>
          <a:stretch>
            <a:fillRect/>
          </a:stretch>
        </p:blipFill>
        <p:spPr>
          <a:xfrm>
            <a:off x="726187" y="2405938"/>
            <a:ext cx="679397" cy="679193"/>
          </a:xfrm>
          <a:prstGeom prst="rect">
            <a:avLst/>
          </a:prstGeom>
        </p:spPr>
      </p:pic>
      <p:pic>
        <p:nvPicPr>
          <p:cNvPr id="31" name="图片 30" descr="图标&#10;&#10;描述已自动生成">
            <a:extLst>
              <a:ext uri="{FF2B5EF4-FFF2-40B4-BE49-F238E27FC236}">
                <a16:creationId xmlns:a16="http://schemas.microsoft.com/office/drawing/2014/main" id="{9BD40398-DEC0-4BAA-ABEA-DA7A13258D62}"/>
              </a:ext>
            </a:extLst>
          </p:cNvPr>
          <p:cNvPicPr>
            <a:picLocks noChangeAspect="1"/>
          </p:cNvPicPr>
          <p:nvPr/>
        </p:nvPicPr>
        <p:blipFill>
          <a:blip r:embed="rId5">
            <a:duotone>
              <a:schemeClr val="accent1">
                <a:shade val="45000"/>
                <a:satMod val="135000"/>
              </a:schemeClr>
              <a:prstClr val="white"/>
            </a:duotone>
          </a:blip>
          <a:stretch>
            <a:fillRect/>
          </a:stretch>
        </p:blipFill>
        <p:spPr>
          <a:xfrm>
            <a:off x="726186" y="4371770"/>
            <a:ext cx="679397" cy="679193"/>
          </a:xfrm>
          <a:prstGeom prst="rect">
            <a:avLst/>
          </a:prstGeom>
        </p:spPr>
      </p:pic>
    </p:spTree>
    <p:extLst>
      <p:ext uri="{BB962C8B-B14F-4D97-AF65-F5344CB8AC3E}">
        <p14:creationId xmlns:p14="http://schemas.microsoft.com/office/powerpoint/2010/main" val="252428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DD471D6-5B68-4AE5-B2D3-D449D7BB23CE}"/>
              </a:ext>
            </a:extLst>
          </p:cNvPr>
          <p:cNvGraphicFramePr>
            <a:graphicFrameLocks noChangeAspect="1"/>
          </p:cNvGraphicFramePr>
          <p:nvPr>
            <p:custDataLst>
              <p:tags r:id="rId1"/>
            </p:custDataLst>
            <p:extLst>
              <p:ext uri="{D42A27DB-BD31-4B8C-83A1-F6EECF244321}">
                <p14:modId xmlns:p14="http://schemas.microsoft.com/office/powerpoint/2010/main" val="1667016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1DD471D6-5B68-4AE5-B2D3-D449D7BB2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5CA7237-5330-4D4E-88EC-7E66266E864D}"/>
              </a:ext>
            </a:extLst>
          </p:cNvPr>
          <p:cNvSpPr>
            <a:spLocks noGrp="1"/>
          </p:cNvSpPr>
          <p:nvPr>
            <p:ph type="title"/>
          </p:nvPr>
        </p:nvSpPr>
        <p:spPr>
          <a:xfrm>
            <a:off x="616527" y="2428652"/>
            <a:ext cx="2761673" cy="480131"/>
          </a:xfrm>
        </p:spPr>
        <p:txBody>
          <a:bodyPr vert="horz"/>
          <a:lstStyle/>
          <a:p>
            <a:r>
              <a:rPr lang="zh-CN" altLang="en-US"/>
              <a:t>安全性</a:t>
            </a:r>
          </a:p>
        </p:txBody>
      </p:sp>
      <p:sp>
        <p:nvSpPr>
          <p:cNvPr id="4" name="文本占位符 3">
            <a:extLst>
              <a:ext uri="{FF2B5EF4-FFF2-40B4-BE49-F238E27FC236}">
                <a16:creationId xmlns:a16="http://schemas.microsoft.com/office/drawing/2014/main" id="{185AA088-6AC9-4E87-BC2C-05D9427960FF}"/>
              </a:ext>
            </a:extLst>
          </p:cNvPr>
          <p:cNvSpPr>
            <a:spLocks noGrp="1"/>
          </p:cNvSpPr>
          <p:nvPr>
            <p:ph type="body" sz="quarter" idx="11"/>
          </p:nvPr>
        </p:nvSpPr>
        <p:spPr/>
        <p:txBody>
          <a:bodyPr/>
          <a:lstStyle/>
          <a:p>
            <a:r>
              <a:rPr lang="en-US" altLang="zh-CN"/>
              <a:t>1. </a:t>
            </a:r>
            <a:r>
              <a:rPr lang="zh-CN" altLang="en-US"/>
              <a:t>拉考沙胺口服溶液说明书</a:t>
            </a:r>
          </a:p>
        </p:txBody>
      </p:sp>
      <p:sp>
        <p:nvSpPr>
          <p:cNvPr id="17" name="文本框 16">
            <a:extLst>
              <a:ext uri="{FF2B5EF4-FFF2-40B4-BE49-F238E27FC236}">
                <a16:creationId xmlns:a16="http://schemas.microsoft.com/office/drawing/2014/main" id="{59BE044A-3698-4DD1-ABF2-23CBCF2837B4}"/>
              </a:ext>
            </a:extLst>
          </p:cNvPr>
          <p:cNvSpPr txBox="1"/>
          <p:nvPr/>
        </p:nvSpPr>
        <p:spPr>
          <a:xfrm>
            <a:off x="6096577" y="1423614"/>
            <a:ext cx="4805222" cy="457433"/>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zh-CN" altLang="en-US" sz="1400" i="0" u="none" strike="noStrike" kern="1200" cap="none" spc="0" normalizeH="0" baseline="0" noProof="0">
                <a:ln>
                  <a:noFill/>
                </a:ln>
                <a:solidFill>
                  <a:schemeClr val="accent1"/>
                </a:solidFill>
                <a:effectLst/>
                <a:uLnTx/>
                <a:uFillTx/>
                <a:latin typeface="Tahoma"/>
                <a:ea typeface="+mn-ea"/>
                <a:cs typeface="+mn-cs"/>
              </a:rPr>
              <a:t>不良反应情况</a:t>
            </a:r>
            <a:r>
              <a:rPr kumimoji="0" lang="en-US" altLang="zh-CN" sz="1400" i="0" u="none" strike="noStrike" kern="1200" cap="none" spc="0" normalizeH="0" baseline="30000" noProof="0">
                <a:ln>
                  <a:noFill/>
                </a:ln>
                <a:solidFill>
                  <a:schemeClr val="accent1"/>
                </a:solidFill>
                <a:effectLst/>
                <a:uLnTx/>
                <a:uFillTx/>
                <a:latin typeface="Tahoma"/>
                <a:ea typeface="+mn-ea"/>
                <a:cs typeface="+mn-cs"/>
              </a:rPr>
              <a:t>1</a:t>
            </a:r>
            <a:endParaRPr kumimoji="0" lang="zh-CN" altLang="en-US" sz="1400" i="0" u="none" strike="noStrike" kern="1200" cap="none" spc="0" normalizeH="0" baseline="30000" noProof="0">
              <a:ln>
                <a:noFill/>
              </a:ln>
              <a:solidFill>
                <a:schemeClr val="accent1"/>
              </a:solidFill>
              <a:effectLst/>
              <a:uLnTx/>
              <a:uFillTx/>
              <a:latin typeface="Tahoma"/>
              <a:ea typeface="+mn-ea"/>
              <a:cs typeface="+mn-cs"/>
            </a:endParaRPr>
          </a:p>
        </p:txBody>
      </p:sp>
      <p:sp>
        <p:nvSpPr>
          <p:cNvPr id="20" name="矩形 19">
            <a:extLst>
              <a:ext uri="{FF2B5EF4-FFF2-40B4-BE49-F238E27FC236}">
                <a16:creationId xmlns:a16="http://schemas.microsoft.com/office/drawing/2014/main" id="{C803AE18-3D7A-4B81-9E5C-C3E080FA3136}"/>
              </a:ext>
            </a:extLst>
          </p:cNvPr>
          <p:cNvSpPr/>
          <p:nvPr/>
        </p:nvSpPr>
        <p:spPr>
          <a:xfrm>
            <a:off x="616527" y="0"/>
            <a:ext cx="711941" cy="1604513"/>
          </a:xfrm>
          <a:prstGeom prst="rect">
            <a:avLst/>
          </a:prstGeom>
          <a:solidFill>
            <a:srgbClr val="001489"/>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sp>
        <p:nvSpPr>
          <p:cNvPr id="21" name="椭圆 20">
            <a:extLst>
              <a:ext uri="{FF2B5EF4-FFF2-40B4-BE49-F238E27FC236}">
                <a16:creationId xmlns:a16="http://schemas.microsoft.com/office/drawing/2014/main" id="{E203A543-C327-46AE-979E-667004726BCF}"/>
              </a:ext>
            </a:extLst>
          </p:cNvPr>
          <p:cNvSpPr/>
          <p:nvPr/>
        </p:nvSpPr>
        <p:spPr>
          <a:xfrm>
            <a:off x="616527" y="1292553"/>
            <a:ext cx="720567" cy="623920"/>
          </a:xfrm>
          <a:prstGeom prst="ellipse">
            <a:avLst/>
          </a:prstGeom>
          <a:solidFill>
            <a:srgbClr val="0014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pic>
        <p:nvPicPr>
          <p:cNvPr id="1028" name="Picture 4">
            <a:extLst>
              <a:ext uri="{FF2B5EF4-FFF2-40B4-BE49-F238E27FC236}">
                <a16:creationId xmlns:a16="http://schemas.microsoft.com/office/drawing/2014/main" id="{AEF614F6-FD76-4755-98A0-D921F006C8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497" y="3949218"/>
            <a:ext cx="1076371" cy="648722"/>
          </a:xfrm>
          <a:prstGeom prst="rect">
            <a:avLst/>
          </a:prstGeom>
          <a:noFill/>
          <a:extLst>
            <a:ext uri="{909E8E84-426E-40DD-AFC4-6F175D3DCCD1}">
              <a14:hiddenFill xmlns:a14="http://schemas.microsoft.com/office/drawing/2010/main">
                <a:solidFill>
                  <a:srgbClr val="FFFFFF"/>
                </a:solidFill>
              </a14:hiddenFill>
            </a:ext>
          </a:extLst>
        </p:spPr>
      </p:pic>
      <p:sp>
        <p:nvSpPr>
          <p:cNvPr id="22" name="文本框 21">
            <a:extLst>
              <a:ext uri="{FF2B5EF4-FFF2-40B4-BE49-F238E27FC236}">
                <a16:creationId xmlns:a16="http://schemas.microsoft.com/office/drawing/2014/main" id="{6D1660C0-E3A0-4F04-9193-A7F00EBF1BCA}"/>
              </a:ext>
            </a:extLst>
          </p:cNvPr>
          <p:cNvSpPr txBox="1"/>
          <p:nvPr/>
        </p:nvSpPr>
        <p:spPr>
          <a:xfrm>
            <a:off x="765549" y="1266818"/>
            <a:ext cx="4138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a:ln>
                  <a:noFill/>
                </a:ln>
                <a:solidFill>
                  <a:srgbClr val="FFFFFF"/>
                </a:solidFill>
                <a:effectLst/>
                <a:uLnTx/>
                <a:uFillTx/>
                <a:latin typeface="Tahoma"/>
                <a:ea typeface="+mn-ea"/>
                <a:cs typeface="+mn-cs"/>
              </a:rPr>
              <a:t>2</a:t>
            </a:r>
            <a:endParaRPr kumimoji="0" lang="zh-CN" altLang="en-US" sz="2800" b="1" i="0" u="none" strike="noStrike" kern="1200" cap="none" spc="0" normalizeH="0" baseline="0" noProof="0">
              <a:ln>
                <a:noFill/>
              </a:ln>
              <a:solidFill>
                <a:srgbClr val="FFFFFF"/>
              </a:solidFill>
              <a:effectLst/>
              <a:uLnTx/>
              <a:uFillTx/>
              <a:latin typeface="Tahoma"/>
              <a:ea typeface="+mn-ea"/>
              <a:cs typeface="+mn-cs"/>
            </a:endParaRPr>
          </a:p>
        </p:txBody>
      </p:sp>
      <p:cxnSp>
        <p:nvCxnSpPr>
          <p:cNvPr id="24" name="直接连接符 23">
            <a:extLst>
              <a:ext uri="{FF2B5EF4-FFF2-40B4-BE49-F238E27FC236}">
                <a16:creationId xmlns:a16="http://schemas.microsoft.com/office/drawing/2014/main" id="{D94C7BF8-C41A-40D5-B347-1660ACFFE482}"/>
              </a:ext>
            </a:extLst>
          </p:cNvPr>
          <p:cNvCxnSpPr/>
          <p:nvPr/>
        </p:nvCxnSpPr>
        <p:spPr>
          <a:xfrm>
            <a:off x="616527" y="3175000"/>
            <a:ext cx="936251"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7" name="图片 26">
            <a:extLst>
              <a:ext uri="{FF2B5EF4-FFF2-40B4-BE49-F238E27FC236}">
                <a16:creationId xmlns:a16="http://schemas.microsoft.com/office/drawing/2014/main" id="{8C86FF3D-C176-4A4A-9E37-323970040F7E}"/>
              </a:ext>
            </a:extLst>
          </p:cNvPr>
          <p:cNvPicPr>
            <a:picLocks noChangeAspect="1"/>
          </p:cNvPicPr>
          <p:nvPr/>
        </p:nvPicPr>
        <p:blipFill>
          <a:blip r:embed="rId6"/>
          <a:stretch>
            <a:fillRect/>
          </a:stretch>
        </p:blipFill>
        <p:spPr>
          <a:xfrm>
            <a:off x="1735960" y="3441218"/>
            <a:ext cx="2515534" cy="19396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图片 6" descr="图示&#10;&#10;低可信度描述已自动生成">
            <a:extLst>
              <a:ext uri="{FF2B5EF4-FFF2-40B4-BE49-F238E27FC236}">
                <a16:creationId xmlns:a16="http://schemas.microsoft.com/office/drawing/2014/main" id="{203FAFB7-B29C-4E72-A5BF-19BFB17BFA00}"/>
              </a:ext>
            </a:extLst>
          </p:cNvPr>
          <p:cNvPicPr>
            <a:picLocks noChangeAspect="1"/>
          </p:cNvPicPr>
          <p:nvPr/>
        </p:nvPicPr>
        <p:blipFill>
          <a:blip r:embed="rId7">
            <a:duotone>
              <a:prstClr val="black"/>
              <a:schemeClr val="accent1">
                <a:tint val="45000"/>
                <a:satMod val="400000"/>
              </a:schemeClr>
            </a:duotone>
          </a:blip>
          <a:stretch>
            <a:fillRect/>
          </a:stretch>
        </p:blipFill>
        <p:spPr>
          <a:xfrm>
            <a:off x="5190845" y="1090502"/>
            <a:ext cx="855660" cy="855660"/>
          </a:xfrm>
          <a:prstGeom prst="rect">
            <a:avLst/>
          </a:prstGeom>
        </p:spPr>
      </p:pic>
      <p:sp>
        <p:nvSpPr>
          <p:cNvPr id="19" name="文本框 18">
            <a:extLst>
              <a:ext uri="{FF2B5EF4-FFF2-40B4-BE49-F238E27FC236}">
                <a16:creationId xmlns:a16="http://schemas.microsoft.com/office/drawing/2014/main" id="{860A1214-33D6-43ED-ABB1-514AC8E6714D}"/>
              </a:ext>
            </a:extLst>
          </p:cNvPr>
          <p:cNvSpPr txBox="1"/>
          <p:nvPr/>
        </p:nvSpPr>
        <p:spPr>
          <a:xfrm>
            <a:off x="6096577" y="3722008"/>
            <a:ext cx="5083868" cy="1569660"/>
          </a:xfrm>
          <a:prstGeom prst="rect">
            <a:avLst/>
          </a:prstGeom>
          <a:noFill/>
        </p:spPr>
        <p:txBody>
          <a:bodyPr wrap="square">
            <a:spAutoFit/>
          </a:bodyPr>
          <a:lstStyle/>
          <a:p>
            <a:r>
              <a:rPr lang="zh-CN" altLang="en-US" sz="1200"/>
              <a:t>根据在</a:t>
            </a:r>
            <a:r>
              <a:rPr lang="en-US" altLang="zh-CN" sz="1200"/>
              <a:t>1,308</a:t>
            </a:r>
            <a:r>
              <a:rPr lang="zh-CN" altLang="en-US" sz="1200"/>
              <a:t>例癫病部分性发作患者中开展的联合治疗安慰剂对照临床试验的汇总分析结果：</a:t>
            </a:r>
            <a:endParaRPr lang="en-US" altLang="zh-CN" sz="1200"/>
          </a:p>
          <a:p>
            <a:pPr marL="171450" indent="-171450">
              <a:buFont typeface="Arial" panose="020B0604020202020204" pitchFamily="34" charset="0"/>
              <a:buChar char="•"/>
            </a:pPr>
            <a:r>
              <a:rPr lang="zh-CN" altLang="en-US" sz="1200"/>
              <a:t>在随机分配接受本品或安慰剂的患者中，分别有</a:t>
            </a:r>
            <a:r>
              <a:rPr lang="en-US" altLang="zh-CN" sz="1200"/>
              <a:t>61.9</a:t>
            </a:r>
            <a:r>
              <a:rPr lang="zh-CN" altLang="en-US" sz="1200"/>
              <a:t>％和</a:t>
            </a:r>
            <a:r>
              <a:rPr lang="en-US" altLang="zh-CN" sz="1200"/>
              <a:t>35.2</a:t>
            </a:r>
            <a:r>
              <a:rPr lang="zh-CN" altLang="en-US" sz="1200"/>
              <a:t>％的患者报告了至少</a:t>
            </a:r>
            <a:r>
              <a:rPr lang="en-US" altLang="zh-CN" sz="1200"/>
              <a:t>1 </a:t>
            </a:r>
            <a:r>
              <a:rPr lang="zh-CN" altLang="en-US" sz="1200"/>
              <a:t>例不良反应。</a:t>
            </a:r>
            <a:endParaRPr lang="en-US" altLang="zh-CN" sz="1200"/>
          </a:p>
          <a:p>
            <a:pPr marL="171450" indent="-171450">
              <a:buFont typeface="Arial" panose="020B0604020202020204" pitchFamily="34" charset="0"/>
              <a:buChar char="•"/>
            </a:pPr>
            <a:r>
              <a:rPr lang="zh-CN" altLang="en-US" sz="1200"/>
              <a:t>本品治疗组最常报告的不良反应（≥</a:t>
            </a:r>
            <a:r>
              <a:rPr lang="en-US" altLang="zh-CN" sz="1200"/>
              <a:t>10%</a:t>
            </a:r>
            <a:r>
              <a:rPr lang="zh-CN" altLang="en-US" sz="1200"/>
              <a:t>）为头晕、头痛、恶心和复视。这些反应通常为轻至中度。一些反应与剂量相关，减少剂量后能够缓解。</a:t>
            </a:r>
            <a:endParaRPr lang="en-US" altLang="zh-CN" sz="1200"/>
          </a:p>
          <a:p>
            <a:pPr marL="171450" indent="-171450">
              <a:buFont typeface="Arial" panose="020B0604020202020204" pitchFamily="34" charset="0"/>
              <a:buChar char="•"/>
            </a:pPr>
            <a:r>
              <a:rPr lang="zh-CN" altLang="en-US" sz="1200"/>
              <a:t>中枢神经系统和胃肠道不良反应的发生率和严重程度通常随时间延长而下降。</a:t>
            </a:r>
          </a:p>
        </p:txBody>
      </p:sp>
      <p:graphicFrame>
        <p:nvGraphicFramePr>
          <p:cNvPr id="11" name="表格 10">
            <a:extLst>
              <a:ext uri="{FF2B5EF4-FFF2-40B4-BE49-F238E27FC236}">
                <a16:creationId xmlns:a16="http://schemas.microsoft.com/office/drawing/2014/main" id="{D4632736-7D42-4028-9DE0-6B4388F29FC1}"/>
              </a:ext>
            </a:extLst>
          </p:cNvPr>
          <p:cNvGraphicFramePr>
            <a:graphicFrameLocks noGrp="1"/>
          </p:cNvGraphicFramePr>
          <p:nvPr>
            <p:extLst>
              <p:ext uri="{D42A27DB-BD31-4B8C-83A1-F6EECF244321}">
                <p14:modId xmlns:p14="http://schemas.microsoft.com/office/powerpoint/2010/main" val="490022794"/>
              </p:ext>
            </p:extLst>
          </p:nvPr>
        </p:nvGraphicFramePr>
        <p:xfrm>
          <a:off x="6208805" y="1989366"/>
          <a:ext cx="4805222" cy="707381"/>
        </p:xfrm>
        <a:graphic>
          <a:graphicData uri="http://schemas.openxmlformats.org/drawingml/2006/table">
            <a:tbl>
              <a:tblPr>
                <a:tableStyleId>{C4B1156A-380E-4F78-BDF5-A606A8083BF9}</a:tableStyleId>
              </a:tblPr>
              <a:tblGrid>
                <a:gridCol w="1310515">
                  <a:extLst>
                    <a:ext uri="{9D8B030D-6E8A-4147-A177-3AD203B41FA5}">
                      <a16:colId xmlns:a16="http://schemas.microsoft.com/office/drawing/2014/main" val="4260918745"/>
                    </a:ext>
                  </a:extLst>
                </a:gridCol>
                <a:gridCol w="1945916">
                  <a:extLst>
                    <a:ext uri="{9D8B030D-6E8A-4147-A177-3AD203B41FA5}">
                      <a16:colId xmlns:a16="http://schemas.microsoft.com/office/drawing/2014/main" val="3202262643"/>
                    </a:ext>
                  </a:extLst>
                </a:gridCol>
                <a:gridCol w="1548791">
                  <a:extLst>
                    <a:ext uri="{9D8B030D-6E8A-4147-A177-3AD203B41FA5}">
                      <a16:colId xmlns:a16="http://schemas.microsoft.com/office/drawing/2014/main" val="1121753210"/>
                    </a:ext>
                  </a:extLst>
                </a:gridCol>
              </a:tblGrid>
              <a:tr h="409734">
                <a:tc>
                  <a:txBody>
                    <a:bodyPr/>
                    <a:lstStyle/>
                    <a:p>
                      <a:pPr algn="l" fontAlgn="ctr"/>
                      <a:r>
                        <a:rPr lang="zh-CN" altLang="en-US" sz="1100" b="1" u="none" strike="noStrike">
                          <a:effectLst/>
                        </a:rPr>
                        <a:t>不良反应</a:t>
                      </a:r>
                      <a:endParaRPr lang="zh-CN" altLang="en-US" sz="1100" b="1"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zh-CN" altLang="en-US" sz="1100" b="1" u="none" strike="noStrike">
                          <a:effectLst/>
                        </a:rPr>
                        <a:t>发生率</a:t>
                      </a:r>
                      <a:endParaRPr lang="zh-CN" altLang="en-US" sz="1100" b="1"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zh-CN" altLang="en-US" sz="1100" b="1" u="none" strike="noStrike">
                          <a:effectLst/>
                        </a:rPr>
                        <a:t>不良反应处理</a:t>
                      </a:r>
                      <a:endParaRPr lang="zh-CN" altLang="en-US" sz="1100" b="1"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195828618"/>
                  </a:ext>
                </a:extLst>
              </a:tr>
              <a:tr h="297647">
                <a:tc>
                  <a:txBody>
                    <a:bodyPr/>
                    <a:lstStyle/>
                    <a:p>
                      <a:pPr algn="l" fontAlgn="ctr"/>
                      <a:r>
                        <a:rPr lang="zh-CN" altLang="en-US" sz="1100" u="none" strike="noStrike">
                          <a:effectLst/>
                        </a:rPr>
                        <a:t>头晕、嗜睡</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zh-CN" altLang="en-US" sz="1100" u="none" strike="noStrike">
                          <a:effectLst/>
                        </a:rPr>
                        <a:t>≥</a:t>
                      </a:r>
                      <a:r>
                        <a:rPr lang="en-US" altLang="zh-CN" sz="1100" u="none" strike="noStrike">
                          <a:effectLst/>
                        </a:rPr>
                        <a:t>1/100</a:t>
                      </a:r>
                      <a:r>
                        <a:rPr lang="zh-CN" altLang="en-US" sz="1100" u="none" strike="noStrike">
                          <a:effectLst/>
                        </a:rPr>
                        <a:t>至＜</a:t>
                      </a:r>
                      <a:r>
                        <a:rPr lang="en-US" altLang="zh-CN" sz="1100" u="none" strike="noStrike">
                          <a:effectLst/>
                        </a:rPr>
                        <a:t>1/10</a:t>
                      </a:r>
                      <a:endParaRPr lang="en-US" altLang="zh-CN"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tc>
                  <a:txBody>
                    <a:bodyPr/>
                    <a:lstStyle/>
                    <a:p>
                      <a:pPr algn="l" fontAlgn="ctr"/>
                      <a:r>
                        <a:rPr lang="zh-CN" altLang="en-US" sz="1100" u="none" strike="noStrike">
                          <a:effectLst/>
                        </a:rPr>
                        <a:t>呈剂量相关</a:t>
                      </a:r>
                      <a:endParaRPr lang="zh-CN" altLang="en-US" sz="1100" b="0" i="0" u="none" strike="noStrike">
                        <a:solidFill>
                          <a:srgbClr val="000000"/>
                        </a:solidFill>
                        <a:effectLst/>
                        <a:latin typeface="等线" panose="02010600030101010101" pitchFamily="2" charset="-122"/>
                        <a:ea typeface="等线" panose="02010600030101010101" pitchFamily="2" charset="-122"/>
                      </a:endParaRPr>
                    </a:p>
                  </a:txBody>
                  <a:tcPr marL="9525" marR="9525" marT="9525" marB="0" anchor="ctr"/>
                </a:tc>
                <a:extLst>
                  <a:ext uri="{0D108BD9-81ED-4DB2-BD59-A6C34878D82A}">
                    <a16:rowId xmlns:a16="http://schemas.microsoft.com/office/drawing/2014/main" val="200301173"/>
                  </a:ext>
                </a:extLst>
              </a:tr>
            </a:tbl>
          </a:graphicData>
        </a:graphic>
      </p:graphicFrame>
      <p:sp>
        <p:nvSpPr>
          <p:cNvPr id="23" name="文本框 22">
            <a:extLst>
              <a:ext uri="{FF2B5EF4-FFF2-40B4-BE49-F238E27FC236}">
                <a16:creationId xmlns:a16="http://schemas.microsoft.com/office/drawing/2014/main" id="{F4399CF8-3F5C-41B6-9CCB-46F94BD794DD}"/>
              </a:ext>
            </a:extLst>
          </p:cNvPr>
          <p:cNvSpPr txBox="1"/>
          <p:nvPr/>
        </p:nvSpPr>
        <p:spPr>
          <a:xfrm>
            <a:off x="6096577" y="3322905"/>
            <a:ext cx="5163094" cy="307777"/>
          </a:xfrm>
          <a:prstGeom prst="rect">
            <a:avLst/>
          </a:prstGeom>
          <a:noFill/>
        </p:spPr>
        <p:txBody>
          <a:bodyPr wrap="square">
            <a:spAutoFit/>
          </a:bodyPr>
          <a:lstStyle/>
          <a:p>
            <a:r>
              <a:rPr lang="zh-CN" altLang="en-US" sz="1400">
                <a:solidFill>
                  <a:schemeClr val="accent1"/>
                </a:solidFill>
              </a:rPr>
              <a:t>安全性信息</a:t>
            </a:r>
            <a:r>
              <a:rPr lang="en-US" altLang="zh-CN" sz="1400" baseline="30000">
                <a:solidFill>
                  <a:schemeClr val="accent1"/>
                </a:solidFill>
              </a:rPr>
              <a:t>1</a:t>
            </a:r>
            <a:endParaRPr lang="zh-CN" altLang="en-US" sz="1400" baseline="30000">
              <a:solidFill>
                <a:schemeClr val="accent1"/>
              </a:solidFill>
            </a:endParaRPr>
          </a:p>
        </p:txBody>
      </p:sp>
    </p:spTree>
    <p:extLst>
      <p:ext uri="{BB962C8B-B14F-4D97-AF65-F5344CB8AC3E}">
        <p14:creationId xmlns:p14="http://schemas.microsoft.com/office/powerpoint/2010/main" val="291537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DD471D6-5B68-4AE5-B2D3-D449D7BB23CE}"/>
              </a:ext>
            </a:extLst>
          </p:cNvPr>
          <p:cNvGraphicFramePr>
            <a:graphicFrameLocks noChangeAspect="1"/>
          </p:cNvGraphicFramePr>
          <p:nvPr>
            <p:custDataLst>
              <p:tags r:id="rId1"/>
            </p:custDataLst>
            <p:extLst>
              <p:ext uri="{D42A27DB-BD31-4B8C-83A1-F6EECF244321}">
                <p14:modId xmlns:p14="http://schemas.microsoft.com/office/powerpoint/2010/main" val="4253005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1DD471D6-5B68-4AE5-B2D3-D449D7BB23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C5CA7237-5330-4D4E-88EC-7E66266E864D}"/>
              </a:ext>
            </a:extLst>
          </p:cNvPr>
          <p:cNvSpPr>
            <a:spLocks noGrp="1"/>
          </p:cNvSpPr>
          <p:nvPr>
            <p:ph type="title"/>
          </p:nvPr>
        </p:nvSpPr>
        <p:spPr>
          <a:xfrm>
            <a:off x="616527" y="2428652"/>
            <a:ext cx="2761673" cy="480131"/>
          </a:xfrm>
        </p:spPr>
        <p:txBody>
          <a:bodyPr vert="horz"/>
          <a:lstStyle/>
          <a:p>
            <a:r>
              <a:rPr lang="zh-CN" altLang="en-US"/>
              <a:t>有效性</a:t>
            </a:r>
          </a:p>
        </p:txBody>
      </p:sp>
      <p:sp>
        <p:nvSpPr>
          <p:cNvPr id="4" name="文本占位符 3">
            <a:extLst>
              <a:ext uri="{FF2B5EF4-FFF2-40B4-BE49-F238E27FC236}">
                <a16:creationId xmlns:a16="http://schemas.microsoft.com/office/drawing/2014/main" id="{185AA088-6AC9-4E87-BC2C-05D9427960FF}"/>
              </a:ext>
            </a:extLst>
          </p:cNvPr>
          <p:cNvSpPr>
            <a:spLocks noGrp="1"/>
          </p:cNvSpPr>
          <p:nvPr>
            <p:ph type="body" sz="quarter" idx="11"/>
          </p:nvPr>
        </p:nvSpPr>
        <p:spPr>
          <a:xfrm>
            <a:off x="2411309" y="6261391"/>
            <a:ext cx="9075527" cy="369332"/>
          </a:xfrm>
        </p:spPr>
        <p:txBody>
          <a:bodyPr/>
          <a:lstStyle/>
          <a:p>
            <a:pPr marL="228600" indent="-228600">
              <a:lnSpc>
                <a:spcPct val="100000"/>
              </a:lnSpc>
              <a:spcBef>
                <a:spcPts val="0"/>
              </a:spcBef>
              <a:buAutoNum type="arabicPeriod"/>
            </a:pPr>
            <a:r>
              <a:rPr lang="zh-CN" altLang="en-US"/>
              <a:t>拉考沙胺添加治疗中国部分性癫痫发作患者的疗效和安全性</a:t>
            </a:r>
            <a:r>
              <a:rPr lang="en-US" altLang="zh-CN"/>
              <a:t>: </a:t>
            </a:r>
            <a:r>
              <a:rPr lang="zh-CN" altLang="en-US"/>
              <a:t>一项随机双盲试验和开放标签扩展试验的亚组分析和事后分析</a:t>
            </a:r>
            <a:r>
              <a:rPr lang="en-US" altLang="zh-CN"/>
              <a:t>, </a:t>
            </a:r>
            <a:r>
              <a:rPr lang="zh-CN" altLang="en-US"/>
              <a:t>中国临床神经科学</a:t>
            </a:r>
            <a:r>
              <a:rPr lang="en-US" altLang="zh-CN"/>
              <a:t>2019</a:t>
            </a:r>
            <a:r>
              <a:rPr lang="zh-CN" altLang="en-US"/>
              <a:t>年第</a:t>
            </a:r>
            <a:r>
              <a:rPr lang="en-US" altLang="zh-CN"/>
              <a:t>27</a:t>
            </a:r>
            <a:r>
              <a:rPr lang="zh-CN" altLang="en-US"/>
              <a:t>卷第</a:t>
            </a:r>
            <a:r>
              <a:rPr lang="en-US" altLang="zh-CN"/>
              <a:t>4 </a:t>
            </a:r>
            <a:r>
              <a:rPr lang="zh-CN" altLang="en-US"/>
              <a:t>期</a:t>
            </a:r>
            <a:endParaRPr lang="en-US" altLang="zh-CN"/>
          </a:p>
          <a:p>
            <a:pPr marL="228600" indent="-228600">
              <a:lnSpc>
                <a:spcPct val="100000"/>
              </a:lnSpc>
              <a:spcBef>
                <a:spcPts val="0"/>
              </a:spcBef>
              <a:buAutoNum type="arabicPeriod"/>
            </a:pPr>
            <a:r>
              <a:rPr lang="zh-CN" altLang="en-US"/>
              <a:t>一项随机化、开放性、单剂量、双周期双交叉研究，旨在评估拉考沙胺片剂</a:t>
            </a:r>
            <a:r>
              <a:rPr lang="en-US" altLang="zh-CN"/>
              <a:t>(200mg) </a:t>
            </a:r>
            <a:r>
              <a:rPr lang="zh-CN" altLang="en-US"/>
              <a:t>和糖浆</a:t>
            </a:r>
            <a:r>
              <a:rPr lang="en-US" altLang="zh-CN"/>
              <a:t>(10mg/ml)</a:t>
            </a:r>
            <a:r>
              <a:rPr lang="zh-CN" altLang="en-US"/>
              <a:t>在中国健康男性受试者中的生物等效性</a:t>
            </a:r>
            <a:r>
              <a:rPr lang="en-US" altLang="zh-CN"/>
              <a:t>, UCB</a:t>
            </a:r>
            <a:r>
              <a:rPr lang="zh-CN" altLang="en-US"/>
              <a:t>临床研究报告</a:t>
            </a:r>
            <a:r>
              <a:rPr lang="en-US" altLang="zh-CN"/>
              <a:t>SP1001, 2018</a:t>
            </a:r>
            <a:r>
              <a:rPr lang="zh-CN" altLang="en-US"/>
              <a:t>年</a:t>
            </a:r>
            <a:r>
              <a:rPr lang="en-US" altLang="zh-CN"/>
              <a:t>8</a:t>
            </a:r>
            <a:r>
              <a:rPr lang="zh-CN" altLang="en-US"/>
              <a:t>月</a:t>
            </a:r>
            <a:r>
              <a:rPr lang="en-US" altLang="zh-CN"/>
              <a:t>23</a:t>
            </a:r>
            <a:r>
              <a:rPr lang="zh-CN" altLang="en-US"/>
              <a:t>日</a:t>
            </a:r>
            <a:endParaRPr lang="en-US" altLang="zh-CN"/>
          </a:p>
          <a:p>
            <a:pPr marL="228600" indent="-228600">
              <a:lnSpc>
                <a:spcPct val="100000"/>
              </a:lnSpc>
              <a:spcBef>
                <a:spcPts val="0"/>
              </a:spcBef>
              <a:buFont typeface="Arial" panose="020B0604020202020204" pitchFamily="34" charset="0"/>
              <a:buAutoNum type="arabicPeriod"/>
            </a:pPr>
            <a:r>
              <a:rPr lang="en-US" altLang="zh-CN"/>
              <a:t>Efficacy and tolerability of adjunctive </a:t>
            </a:r>
            <a:r>
              <a:rPr lang="en-US" altLang="zh-CN" err="1"/>
              <a:t>lacosamide</a:t>
            </a:r>
            <a:r>
              <a:rPr lang="en-US" altLang="zh-CN"/>
              <a:t> in pediatric patients with focal seizures, </a:t>
            </a:r>
            <a:r>
              <a:rPr lang="sv-SE" altLang="zh-CN"/>
              <a:t>Viktor Farkas, Barbara Steinborn, J. Robert Flamini, et al., </a:t>
            </a:r>
            <a:r>
              <a:rPr lang="en-US" altLang="zh-CN" i="1"/>
              <a:t>Neurology</a:t>
            </a:r>
            <a:r>
              <a:rPr lang="en-US" altLang="zh-CN"/>
              <a:t> published online August 28, 2019</a:t>
            </a:r>
          </a:p>
        </p:txBody>
      </p:sp>
      <p:sp>
        <p:nvSpPr>
          <p:cNvPr id="17" name="文本框 16">
            <a:extLst>
              <a:ext uri="{FF2B5EF4-FFF2-40B4-BE49-F238E27FC236}">
                <a16:creationId xmlns:a16="http://schemas.microsoft.com/office/drawing/2014/main" id="{59BE044A-3698-4DD1-ABF2-23CBCF2837B4}"/>
              </a:ext>
            </a:extLst>
          </p:cNvPr>
          <p:cNvSpPr txBox="1"/>
          <p:nvPr/>
        </p:nvSpPr>
        <p:spPr>
          <a:xfrm>
            <a:off x="5454159" y="788394"/>
            <a:ext cx="4927335" cy="457433"/>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zh-CN" altLang="en-US" sz="1400" b="0" i="0" u="none" strike="noStrike" kern="1200" cap="none" spc="0" normalizeH="0" baseline="0" noProof="0">
                <a:ln>
                  <a:noFill/>
                </a:ln>
                <a:solidFill>
                  <a:srgbClr val="001489"/>
                </a:solidFill>
                <a:effectLst/>
                <a:uLnTx/>
                <a:uFillTx/>
                <a:latin typeface="Tahoma"/>
                <a:ea typeface="+mn-ea"/>
                <a:cs typeface="+mn-cs"/>
              </a:rPr>
              <a:t>临床试验</a:t>
            </a:r>
            <a:endParaRPr kumimoji="0" lang="en-US" altLang="zh-CN" sz="1400" b="0" i="0" u="none" strike="noStrike" kern="1200" cap="none" spc="0" normalizeH="0" baseline="0" noProof="0">
              <a:ln>
                <a:noFill/>
              </a:ln>
              <a:solidFill>
                <a:srgbClr val="001489"/>
              </a:solidFill>
              <a:effectLst/>
              <a:uLnTx/>
              <a:uFillTx/>
              <a:latin typeface="Tahoma"/>
              <a:ea typeface="+mn-ea"/>
              <a:cs typeface="+mn-cs"/>
            </a:endParaRPr>
          </a:p>
        </p:txBody>
      </p:sp>
      <p:sp>
        <p:nvSpPr>
          <p:cNvPr id="20" name="矩形 19">
            <a:extLst>
              <a:ext uri="{FF2B5EF4-FFF2-40B4-BE49-F238E27FC236}">
                <a16:creationId xmlns:a16="http://schemas.microsoft.com/office/drawing/2014/main" id="{C803AE18-3D7A-4B81-9E5C-C3E080FA3136}"/>
              </a:ext>
            </a:extLst>
          </p:cNvPr>
          <p:cNvSpPr/>
          <p:nvPr/>
        </p:nvSpPr>
        <p:spPr>
          <a:xfrm>
            <a:off x="616527" y="0"/>
            <a:ext cx="711941" cy="1604513"/>
          </a:xfrm>
          <a:prstGeom prst="rect">
            <a:avLst/>
          </a:prstGeom>
          <a:solidFill>
            <a:srgbClr val="001489"/>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sp>
        <p:nvSpPr>
          <p:cNvPr id="21" name="椭圆 20">
            <a:extLst>
              <a:ext uri="{FF2B5EF4-FFF2-40B4-BE49-F238E27FC236}">
                <a16:creationId xmlns:a16="http://schemas.microsoft.com/office/drawing/2014/main" id="{E203A543-C327-46AE-979E-667004726BCF}"/>
              </a:ext>
            </a:extLst>
          </p:cNvPr>
          <p:cNvSpPr/>
          <p:nvPr/>
        </p:nvSpPr>
        <p:spPr>
          <a:xfrm>
            <a:off x="616527" y="1292553"/>
            <a:ext cx="720567" cy="623920"/>
          </a:xfrm>
          <a:prstGeom prst="ellipse">
            <a:avLst/>
          </a:prstGeom>
          <a:solidFill>
            <a:srgbClr val="0014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pic>
        <p:nvPicPr>
          <p:cNvPr id="1028" name="Picture 4">
            <a:extLst>
              <a:ext uri="{FF2B5EF4-FFF2-40B4-BE49-F238E27FC236}">
                <a16:creationId xmlns:a16="http://schemas.microsoft.com/office/drawing/2014/main" id="{AEF614F6-FD76-4755-98A0-D921F006C8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7497" y="3949218"/>
            <a:ext cx="1076371" cy="648722"/>
          </a:xfrm>
          <a:prstGeom prst="rect">
            <a:avLst/>
          </a:prstGeom>
          <a:noFill/>
          <a:extLst>
            <a:ext uri="{909E8E84-426E-40DD-AFC4-6F175D3DCCD1}">
              <a14:hiddenFill xmlns:a14="http://schemas.microsoft.com/office/drawing/2010/main">
                <a:solidFill>
                  <a:srgbClr val="FFFFFF"/>
                </a:solidFill>
              </a14:hiddenFill>
            </a:ext>
          </a:extLst>
        </p:spPr>
      </p:pic>
      <p:sp>
        <p:nvSpPr>
          <p:cNvPr id="22" name="文本框 21">
            <a:extLst>
              <a:ext uri="{FF2B5EF4-FFF2-40B4-BE49-F238E27FC236}">
                <a16:creationId xmlns:a16="http://schemas.microsoft.com/office/drawing/2014/main" id="{6D1660C0-E3A0-4F04-9193-A7F00EBF1BCA}"/>
              </a:ext>
            </a:extLst>
          </p:cNvPr>
          <p:cNvSpPr txBox="1"/>
          <p:nvPr/>
        </p:nvSpPr>
        <p:spPr>
          <a:xfrm>
            <a:off x="765549" y="1266818"/>
            <a:ext cx="4138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a:ln>
                  <a:noFill/>
                </a:ln>
                <a:solidFill>
                  <a:srgbClr val="FFFFFF"/>
                </a:solidFill>
                <a:effectLst/>
                <a:uLnTx/>
                <a:uFillTx/>
                <a:latin typeface="Tahoma"/>
                <a:ea typeface="+mn-ea"/>
                <a:cs typeface="+mn-cs"/>
              </a:rPr>
              <a:t>3</a:t>
            </a:r>
            <a:endParaRPr kumimoji="0" lang="zh-CN" altLang="en-US" sz="2800" b="1" i="0" u="none" strike="noStrike" kern="1200" cap="none" spc="0" normalizeH="0" baseline="0" noProof="0">
              <a:ln>
                <a:noFill/>
              </a:ln>
              <a:solidFill>
                <a:srgbClr val="FFFFFF"/>
              </a:solidFill>
              <a:effectLst/>
              <a:uLnTx/>
              <a:uFillTx/>
              <a:latin typeface="Tahoma"/>
              <a:ea typeface="+mn-ea"/>
              <a:cs typeface="+mn-cs"/>
            </a:endParaRPr>
          </a:p>
        </p:txBody>
      </p:sp>
      <p:cxnSp>
        <p:nvCxnSpPr>
          <p:cNvPr id="24" name="直接连接符 23">
            <a:extLst>
              <a:ext uri="{FF2B5EF4-FFF2-40B4-BE49-F238E27FC236}">
                <a16:creationId xmlns:a16="http://schemas.microsoft.com/office/drawing/2014/main" id="{D94C7BF8-C41A-40D5-B347-1660ACFFE482}"/>
              </a:ext>
            </a:extLst>
          </p:cNvPr>
          <p:cNvCxnSpPr/>
          <p:nvPr/>
        </p:nvCxnSpPr>
        <p:spPr>
          <a:xfrm>
            <a:off x="616527" y="3175000"/>
            <a:ext cx="936251"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7" name="图片 26">
            <a:extLst>
              <a:ext uri="{FF2B5EF4-FFF2-40B4-BE49-F238E27FC236}">
                <a16:creationId xmlns:a16="http://schemas.microsoft.com/office/drawing/2014/main" id="{8C86FF3D-C176-4A4A-9E37-323970040F7E}"/>
              </a:ext>
            </a:extLst>
          </p:cNvPr>
          <p:cNvPicPr>
            <a:picLocks noChangeAspect="1"/>
          </p:cNvPicPr>
          <p:nvPr/>
        </p:nvPicPr>
        <p:blipFill>
          <a:blip r:embed="rId6"/>
          <a:stretch>
            <a:fillRect/>
          </a:stretch>
        </p:blipFill>
        <p:spPr>
          <a:xfrm>
            <a:off x="1735960" y="3441218"/>
            <a:ext cx="2515534" cy="19396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图片 9" descr="图标&#10;&#10;描述已自动生成">
            <a:extLst>
              <a:ext uri="{FF2B5EF4-FFF2-40B4-BE49-F238E27FC236}">
                <a16:creationId xmlns:a16="http://schemas.microsoft.com/office/drawing/2014/main" id="{A0E8D636-13D4-4281-82B0-FCDAF524D1F9}"/>
              </a:ext>
            </a:extLst>
          </p:cNvPr>
          <p:cNvPicPr>
            <a:picLocks noChangeAspect="1"/>
          </p:cNvPicPr>
          <p:nvPr/>
        </p:nvPicPr>
        <p:blipFill>
          <a:blip r:embed="rId7"/>
          <a:stretch>
            <a:fillRect/>
          </a:stretch>
        </p:blipFill>
        <p:spPr>
          <a:xfrm>
            <a:off x="4525165" y="446427"/>
            <a:ext cx="855660" cy="855660"/>
          </a:xfrm>
          <a:prstGeom prst="rect">
            <a:avLst/>
          </a:prstGeom>
        </p:spPr>
      </p:pic>
      <p:sp>
        <p:nvSpPr>
          <p:cNvPr id="13" name="文本框 12">
            <a:extLst>
              <a:ext uri="{FF2B5EF4-FFF2-40B4-BE49-F238E27FC236}">
                <a16:creationId xmlns:a16="http://schemas.microsoft.com/office/drawing/2014/main" id="{2CBEA648-A22B-44A1-9B90-03F1352433A1}"/>
              </a:ext>
            </a:extLst>
          </p:cNvPr>
          <p:cNvSpPr txBox="1"/>
          <p:nvPr/>
        </p:nvSpPr>
        <p:spPr>
          <a:xfrm>
            <a:off x="5454159" y="1275147"/>
            <a:ext cx="6094562" cy="2877711"/>
          </a:xfrm>
          <a:prstGeom prst="rect">
            <a:avLst/>
          </a:prstGeom>
          <a:noFill/>
        </p:spPr>
        <p:txBody>
          <a:bodyPr wrap="square" rtlCol="0">
            <a:spAutoFit/>
          </a:bodyPr>
          <a:lstStyle/>
          <a:p>
            <a:pPr algn="l"/>
            <a:r>
              <a:rPr lang="zh-CN" altLang="en-US" sz="1000" b="1"/>
              <a:t>试验</a:t>
            </a:r>
            <a:r>
              <a:rPr lang="en-US" altLang="zh-CN" sz="1000" b="1"/>
              <a:t>1</a:t>
            </a:r>
            <a:r>
              <a:rPr lang="zh-CN" altLang="en-US" sz="1000" b="1"/>
              <a:t>：拉考沙胺添加治疗中国部分性癫发作患者的疗效和安全性</a:t>
            </a:r>
            <a:r>
              <a:rPr lang="en-US" altLang="zh-CN" sz="1000" b="1" baseline="30000"/>
              <a:t>1</a:t>
            </a:r>
          </a:p>
          <a:p>
            <a:pPr marL="171450" indent="-171450" algn="l">
              <a:buFont typeface="Arial" panose="020B0604020202020204" pitchFamily="34" charset="0"/>
              <a:buChar char="•"/>
            </a:pPr>
            <a:r>
              <a:rPr lang="zh-CN" altLang="en-US" sz="1000"/>
              <a:t>方法：一项为期</a:t>
            </a:r>
            <a:r>
              <a:rPr lang="en-US" altLang="zh-CN" sz="1000"/>
              <a:t>24 </a:t>
            </a:r>
            <a:r>
              <a:rPr lang="zh-CN" altLang="en-US" sz="1000"/>
              <a:t>周在中国和日本</a:t>
            </a:r>
            <a:r>
              <a:rPr lang="en-US" altLang="zh-CN" sz="1000"/>
              <a:t>16-70 </a:t>
            </a:r>
            <a:r>
              <a:rPr lang="zh-CN" altLang="en-US" sz="1000"/>
              <a:t>岁控制不佳的部分性癫发作患者中开展的随机、双盲、安慰剂对照临床试验。</a:t>
            </a:r>
            <a:endParaRPr lang="en-US" altLang="zh-CN" sz="1000"/>
          </a:p>
          <a:p>
            <a:pPr marL="171450" indent="-171450" algn="l">
              <a:buFont typeface="Arial" panose="020B0604020202020204" pitchFamily="34" charset="0"/>
              <a:buChar char="•"/>
            </a:pPr>
            <a:r>
              <a:rPr lang="zh-CN" altLang="en-US" sz="1000"/>
              <a:t>结果：拉考沙胺</a:t>
            </a:r>
            <a:r>
              <a:rPr lang="en-US" altLang="zh-CN" sz="1000"/>
              <a:t>400mg</a:t>
            </a:r>
            <a:r>
              <a:rPr lang="zh-CN" altLang="en-US" sz="1000"/>
              <a:t>组和</a:t>
            </a:r>
            <a:r>
              <a:rPr lang="en-US" altLang="zh-CN" sz="1000"/>
              <a:t>200mg</a:t>
            </a:r>
            <a:r>
              <a:rPr lang="zh-CN" altLang="en-US" sz="1000"/>
              <a:t>组每</a:t>
            </a:r>
            <a:r>
              <a:rPr lang="en-US" altLang="zh-CN" sz="1000"/>
              <a:t>28</a:t>
            </a:r>
            <a:r>
              <a:rPr lang="zh-CN" altLang="en-US" sz="1000"/>
              <a:t>天癫痫发作频次分别减少</a:t>
            </a:r>
            <a:r>
              <a:rPr lang="en-US" altLang="zh-CN" sz="1000"/>
              <a:t>43. 1</a:t>
            </a:r>
            <a:r>
              <a:rPr lang="zh-CN" altLang="en-US" sz="1000"/>
              <a:t>％和</a:t>
            </a:r>
            <a:r>
              <a:rPr lang="en-US" altLang="zh-CN" sz="1000"/>
              <a:t>33. 6%</a:t>
            </a:r>
            <a:r>
              <a:rPr lang="zh-CN" altLang="en-US" sz="1000"/>
              <a:t>，与安慰剂相比有统计学差异。</a:t>
            </a:r>
          </a:p>
          <a:p>
            <a:pPr algn="l"/>
            <a:endParaRPr lang="en-US" altLang="zh-CN" sz="1000" b="1"/>
          </a:p>
          <a:p>
            <a:pPr algn="l"/>
            <a:r>
              <a:rPr lang="zh-CN" altLang="en-US" sz="1000" b="1"/>
              <a:t>试验</a:t>
            </a:r>
            <a:r>
              <a:rPr lang="en-US" altLang="zh-CN" sz="1000" b="1"/>
              <a:t>2</a:t>
            </a:r>
            <a:r>
              <a:rPr lang="zh-CN" altLang="en-US" sz="1000" b="1"/>
              <a:t>：拉考沙胺口服溶液和片剂的生物等效性</a:t>
            </a:r>
            <a:r>
              <a:rPr lang="en-US" altLang="zh-CN" sz="1000" b="1" baseline="30000"/>
              <a:t>2</a:t>
            </a:r>
          </a:p>
          <a:p>
            <a:pPr marL="171450" indent="-171450" algn="l">
              <a:buFont typeface="Arial" panose="020B0604020202020204" pitchFamily="34" charset="0"/>
              <a:buChar char="•"/>
            </a:pPr>
            <a:r>
              <a:rPr lang="zh-CN" altLang="en-US" sz="1000" b="1"/>
              <a:t> </a:t>
            </a:r>
            <a:r>
              <a:rPr lang="zh-CN" altLang="en-US" sz="1000"/>
              <a:t>方法：一项随机化、开放性、单剂量、双周期双交叉研究，评估拉考沙胺片剂</a:t>
            </a:r>
            <a:r>
              <a:rPr lang="en-US" altLang="zh-CN" sz="1000"/>
              <a:t>(200mg) </a:t>
            </a:r>
            <a:r>
              <a:rPr lang="zh-CN" altLang="en-US" sz="1000"/>
              <a:t>和糖浆</a:t>
            </a:r>
            <a:r>
              <a:rPr lang="en-US" altLang="zh-CN" sz="1000"/>
              <a:t>(10mg/ml)</a:t>
            </a:r>
            <a:r>
              <a:rPr lang="zh-CN" altLang="en-US" sz="1000"/>
              <a:t>在中国健康男性受试者中的生物等效性</a:t>
            </a:r>
            <a:endParaRPr lang="en-US" altLang="zh-CN" sz="1000"/>
          </a:p>
          <a:p>
            <a:pPr marL="171450" indent="-171450" algn="l">
              <a:buFont typeface="Arial" panose="020B0604020202020204" pitchFamily="34" charset="0"/>
              <a:buChar char="•"/>
            </a:pPr>
            <a:r>
              <a:rPr lang="zh-CN" altLang="en-US" sz="1000"/>
              <a:t>结果：拉考沙胺</a:t>
            </a:r>
            <a:r>
              <a:rPr lang="en-US" altLang="zh-CN" sz="1000"/>
              <a:t>AUCO-t</a:t>
            </a:r>
            <a:r>
              <a:rPr lang="zh-CN" altLang="en-US" sz="1000"/>
              <a:t>、</a:t>
            </a:r>
            <a:r>
              <a:rPr lang="en-US" altLang="zh-CN" sz="1000"/>
              <a:t>AUCO-</a:t>
            </a:r>
            <a:r>
              <a:rPr lang="en-US" altLang="zh-CN" sz="1000" err="1"/>
              <a:t>oo</a:t>
            </a:r>
            <a:r>
              <a:rPr lang="zh-CN" altLang="en-US" sz="1000"/>
              <a:t>、</a:t>
            </a:r>
            <a:r>
              <a:rPr lang="en-US" altLang="zh-CN" sz="1000" err="1"/>
              <a:t>Cmax</a:t>
            </a:r>
            <a:r>
              <a:rPr lang="zh-CN" altLang="en-US" sz="1000"/>
              <a:t>几何均值比值的</a:t>
            </a:r>
            <a:r>
              <a:rPr lang="en-US" altLang="zh-CN" sz="1000"/>
              <a:t>90</a:t>
            </a:r>
            <a:r>
              <a:rPr lang="zh-CN" altLang="en-US" sz="1000"/>
              <a:t>％置信区间分别为</a:t>
            </a:r>
            <a:r>
              <a:rPr lang="en-US" altLang="zh-CN" sz="1000"/>
              <a:t>1.032~1.072</a:t>
            </a:r>
            <a:r>
              <a:rPr lang="zh-CN" altLang="en-US" sz="1000"/>
              <a:t>、</a:t>
            </a:r>
            <a:r>
              <a:rPr lang="en-US" altLang="zh-CN" sz="1000"/>
              <a:t>1.031~1.074</a:t>
            </a:r>
            <a:r>
              <a:rPr lang="zh-CN" altLang="en-US" sz="1000"/>
              <a:t>、</a:t>
            </a:r>
            <a:r>
              <a:rPr lang="en-US" altLang="zh-CN" sz="1000"/>
              <a:t>0.9296~ 1.053</a:t>
            </a:r>
            <a:r>
              <a:rPr lang="zh-CN" altLang="en-US" sz="1000"/>
              <a:t>。均在</a:t>
            </a:r>
            <a:r>
              <a:rPr lang="en-US" altLang="zh-CN" sz="1000"/>
              <a:t>80.00%-125.00</a:t>
            </a:r>
            <a:r>
              <a:rPr lang="zh-CN" altLang="en-US" sz="1000"/>
              <a:t>％范围内，符合生物等效标准。</a:t>
            </a:r>
            <a:endParaRPr lang="en-US" altLang="zh-CN" sz="1000"/>
          </a:p>
          <a:p>
            <a:pPr algn="l"/>
            <a:endParaRPr lang="en-US" altLang="zh-CN" sz="1000" b="1"/>
          </a:p>
          <a:p>
            <a:pPr algn="l"/>
            <a:r>
              <a:rPr lang="zh-CN" altLang="en-US" sz="1000" b="1"/>
              <a:t>试验</a:t>
            </a:r>
            <a:r>
              <a:rPr lang="en-US" altLang="zh-CN" sz="1000" b="1"/>
              <a:t>3</a:t>
            </a:r>
            <a:r>
              <a:rPr lang="zh-CN" altLang="en-US" sz="1000" b="1"/>
              <a:t>：未控制的癫痫局灶性发作儿童和青少年中添加拉考沙胺治疗的疗效和耐受性</a:t>
            </a:r>
            <a:r>
              <a:rPr lang="en-US" altLang="zh-CN" sz="1000" b="1" baseline="30000"/>
              <a:t>3</a:t>
            </a:r>
          </a:p>
          <a:p>
            <a:pPr marL="171450" indent="-171450" algn="l">
              <a:buFont typeface="Arial" panose="020B0604020202020204" pitchFamily="34" charset="0"/>
              <a:buChar char="•"/>
            </a:pPr>
            <a:r>
              <a:rPr lang="zh-CN" altLang="en-US" sz="1000"/>
              <a:t>方法：一项为期</a:t>
            </a:r>
            <a:r>
              <a:rPr lang="en-US" altLang="zh-CN" sz="1000"/>
              <a:t>16</a:t>
            </a:r>
            <a:r>
              <a:rPr lang="zh-CN" altLang="en-US" sz="1000"/>
              <a:t>周的随机、双盲、安慰剂对照临床试验，患有未控制的癫痫局灶性发作患者（年龄≥</a:t>
            </a:r>
            <a:r>
              <a:rPr lang="en-US" altLang="zh-CN" sz="1000"/>
              <a:t>4-&lt;17</a:t>
            </a:r>
            <a:r>
              <a:rPr lang="zh-CN" altLang="en-US" sz="1000"/>
              <a:t>岁）接受拉考沙胺</a:t>
            </a:r>
            <a:r>
              <a:rPr lang="en-US" altLang="zh-CN" sz="1000"/>
              <a:t>/</a:t>
            </a:r>
            <a:r>
              <a:rPr lang="zh-CN" altLang="en-US" sz="1000"/>
              <a:t>安慰剂添加治疗。</a:t>
            </a:r>
            <a:endParaRPr lang="en-US" altLang="zh-CN" sz="1000"/>
          </a:p>
          <a:p>
            <a:pPr marL="171450" indent="-171450" algn="l">
              <a:buFont typeface="Arial" panose="020B0604020202020204" pitchFamily="34" charset="0"/>
              <a:buChar char="•"/>
            </a:pPr>
            <a:r>
              <a:rPr lang="zh-CN" altLang="en-US" sz="1000"/>
              <a:t>结果：拉考沙胺添加治疗局灶性儿童患者，癫痫发作次数减少</a:t>
            </a:r>
            <a:r>
              <a:rPr lang="en-US" altLang="zh-CN" sz="1000"/>
              <a:t>50%</a:t>
            </a:r>
            <a:r>
              <a:rPr lang="zh-CN" altLang="en-US" sz="1000"/>
              <a:t>比列高达</a:t>
            </a:r>
            <a:r>
              <a:rPr lang="en-US" altLang="zh-CN" sz="1000"/>
              <a:t>52.9%</a:t>
            </a:r>
            <a:r>
              <a:rPr lang="zh-CN" altLang="en-US" sz="1000"/>
              <a:t>，与安慰剂相比有统计学差异。</a:t>
            </a:r>
            <a:endParaRPr lang="en-US" altLang="zh-CN" sz="1000"/>
          </a:p>
          <a:p>
            <a:pPr marL="171450" indent="-171450" algn="l">
              <a:buFont typeface="Arial" panose="020B0604020202020204" pitchFamily="34" charset="0"/>
              <a:buChar char="•"/>
            </a:pPr>
            <a:endParaRPr lang="en-US" altLang="zh-CN" sz="1050">
              <a:solidFill>
                <a:schemeClr val="accent5">
                  <a:lumMod val="75000"/>
                </a:schemeClr>
              </a:solidFill>
            </a:endParaRPr>
          </a:p>
        </p:txBody>
      </p:sp>
      <p:sp>
        <p:nvSpPr>
          <p:cNvPr id="26" name="文本框 25">
            <a:extLst>
              <a:ext uri="{FF2B5EF4-FFF2-40B4-BE49-F238E27FC236}">
                <a16:creationId xmlns:a16="http://schemas.microsoft.com/office/drawing/2014/main" id="{26F17C06-BDE4-4B3C-9155-15BEEBCFDFCF}"/>
              </a:ext>
            </a:extLst>
          </p:cNvPr>
          <p:cNvSpPr txBox="1"/>
          <p:nvPr/>
        </p:nvSpPr>
        <p:spPr>
          <a:xfrm>
            <a:off x="5428248" y="3963209"/>
            <a:ext cx="4927335" cy="457433"/>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zh-CN" altLang="en-US" sz="1400" b="0" i="0" u="none" strike="noStrike" kern="1200" cap="none" spc="0" normalizeH="0" baseline="0" noProof="0">
                <a:ln>
                  <a:noFill/>
                </a:ln>
                <a:solidFill>
                  <a:srgbClr val="001489"/>
                </a:solidFill>
                <a:effectLst/>
                <a:uLnTx/>
                <a:uFillTx/>
                <a:latin typeface="Tahoma"/>
                <a:ea typeface="+mn-ea"/>
                <a:cs typeface="+mn-cs"/>
              </a:rPr>
              <a:t>指南推荐</a:t>
            </a:r>
            <a:endParaRPr kumimoji="0" lang="en-US" altLang="zh-CN" sz="1400" b="0" i="0" u="none" strike="noStrike" kern="1200" cap="none" spc="0" normalizeH="0" baseline="0" noProof="0">
              <a:ln>
                <a:noFill/>
              </a:ln>
              <a:solidFill>
                <a:srgbClr val="001489"/>
              </a:solidFill>
              <a:effectLst/>
              <a:uLnTx/>
              <a:uFillTx/>
              <a:latin typeface="Tahoma"/>
              <a:ea typeface="+mn-ea"/>
              <a:cs typeface="+mn-cs"/>
            </a:endParaRPr>
          </a:p>
        </p:txBody>
      </p:sp>
      <p:sp>
        <p:nvSpPr>
          <p:cNvPr id="28" name="文本框 27">
            <a:extLst>
              <a:ext uri="{FF2B5EF4-FFF2-40B4-BE49-F238E27FC236}">
                <a16:creationId xmlns:a16="http://schemas.microsoft.com/office/drawing/2014/main" id="{4B2ACAF1-8859-4B04-889C-9EF0B7464D8C}"/>
              </a:ext>
            </a:extLst>
          </p:cNvPr>
          <p:cNvSpPr txBox="1"/>
          <p:nvPr/>
        </p:nvSpPr>
        <p:spPr>
          <a:xfrm>
            <a:off x="5459577" y="4449962"/>
            <a:ext cx="6185982" cy="830997"/>
          </a:xfrm>
          <a:prstGeom prst="rect">
            <a:avLst/>
          </a:prstGeom>
          <a:noFill/>
        </p:spPr>
        <p:txBody>
          <a:bodyPr wrap="square">
            <a:spAutoFit/>
          </a:bodyPr>
          <a:lstStyle/>
          <a:p>
            <a:pPr marL="171450" indent="-171450">
              <a:buFont typeface="Wingdings" panose="05000000000000000000" pitchFamily="2" charset="2"/>
              <a:buChar char="ü"/>
            </a:pPr>
            <a:r>
              <a:rPr lang="zh-CN" altLang="en-US" sz="1000" b="1"/>
              <a:t>中国临床诊疗指南（癫痫病分册）</a:t>
            </a:r>
            <a:r>
              <a:rPr lang="en-US" altLang="zh-CN" sz="1000" b="1"/>
              <a:t>-2015</a:t>
            </a:r>
            <a:r>
              <a:rPr lang="zh-CN" altLang="en-US" sz="1000" b="1"/>
              <a:t>年（修订版）</a:t>
            </a:r>
            <a:r>
              <a:rPr lang="zh-CN" altLang="en-US" sz="1000"/>
              <a:t>：拉考沙胺列入中国临床诊疗指南</a:t>
            </a:r>
            <a:endParaRPr lang="en-US" altLang="zh-CN" sz="1000"/>
          </a:p>
          <a:p>
            <a:pPr marL="171450" indent="-171450">
              <a:buFont typeface="Wingdings" panose="05000000000000000000" pitchFamily="2" charset="2"/>
              <a:buChar char="ü"/>
            </a:pPr>
            <a:r>
              <a:rPr lang="en-US" altLang="zh-CN" sz="1000" b="1"/>
              <a:t>SING</a:t>
            </a:r>
            <a:r>
              <a:rPr lang="zh-CN" altLang="en-US" sz="1000" b="1"/>
              <a:t>（苏格兰校际指南网络）指南</a:t>
            </a:r>
            <a:r>
              <a:rPr lang="en-US" altLang="zh-CN" sz="1000" b="1"/>
              <a:t>-2015</a:t>
            </a:r>
            <a:r>
              <a:rPr lang="zh-CN" altLang="en-US" sz="1000" b="1"/>
              <a:t>年</a:t>
            </a:r>
            <a:r>
              <a:rPr lang="zh-CN" altLang="en-US" sz="1000"/>
              <a:t>：拉考沙胺用于添加治疗局灶性癫痫发作，作为等级</a:t>
            </a:r>
            <a:r>
              <a:rPr lang="en-US" altLang="zh-CN" sz="1000"/>
              <a:t>A</a:t>
            </a:r>
            <a:r>
              <a:rPr lang="zh-CN" altLang="en-US" sz="1000"/>
              <a:t>推荐</a:t>
            </a:r>
            <a:endParaRPr lang="en-US" altLang="zh-CN" sz="1000"/>
          </a:p>
          <a:p>
            <a:pPr marL="171450" indent="-171450">
              <a:buFont typeface="Wingdings" panose="05000000000000000000" pitchFamily="2" charset="2"/>
              <a:buChar char="ü"/>
            </a:pPr>
            <a:r>
              <a:rPr lang="zh-CN" altLang="en-US" sz="1000" b="1"/>
              <a:t>英国</a:t>
            </a:r>
            <a:r>
              <a:rPr lang="en-US" altLang="zh-CN" sz="1000" b="1"/>
              <a:t>NICE-2012</a:t>
            </a:r>
            <a:r>
              <a:rPr lang="zh-CN" altLang="en-US" sz="1000" b="1"/>
              <a:t>年</a:t>
            </a:r>
            <a:r>
              <a:rPr lang="zh-CN" altLang="en-US" sz="1000"/>
              <a:t>：如治疗局灶性发作时推荐的一线添加药物无效或不耐受，则推荐使用拉考沙胺</a:t>
            </a:r>
            <a:endParaRPr lang="en-US" altLang="zh-CN" sz="1000"/>
          </a:p>
          <a:p>
            <a:endParaRPr lang="zh-CN" altLang="en-US"/>
          </a:p>
        </p:txBody>
      </p:sp>
      <p:sp>
        <p:nvSpPr>
          <p:cNvPr id="29" name="文本框 28">
            <a:extLst>
              <a:ext uri="{FF2B5EF4-FFF2-40B4-BE49-F238E27FC236}">
                <a16:creationId xmlns:a16="http://schemas.microsoft.com/office/drawing/2014/main" id="{A13284F2-0A4B-4907-9155-D76E34340BDF}"/>
              </a:ext>
            </a:extLst>
          </p:cNvPr>
          <p:cNvSpPr txBox="1"/>
          <p:nvPr/>
        </p:nvSpPr>
        <p:spPr>
          <a:xfrm>
            <a:off x="5459577" y="5120755"/>
            <a:ext cx="6094562" cy="307777"/>
          </a:xfrm>
          <a:prstGeom prst="rect">
            <a:avLst/>
          </a:prstGeom>
          <a:noFill/>
        </p:spPr>
        <p:txBody>
          <a:bodyPr wrap="square">
            <a:spAutoFit/>
          </a:bodyPr>
          <a:lstStyle/>
          <a:p>
            <a:r>
              <a:rPr lang="zh-CN" altLang="en-US" sz="1400">
                <a:solidFill>
                  <a:schemeClr val="accent1"/>
                </a:solidFill>
              </a:rPr>
              <a:t>国家药监局药品审评中心</a:t>
            </a:r>
            <a:r>
              <a:rPr lang="en-US" altLang="zh-CN" sz="1400">
                <a:solidFill>
                  <a:schemeClr val="accent1"/>
                </a:solidFill>
              </a:rPr>
              <a:t>《</a:t>
            </a:r>
            <a:r>
              <a:rPr lang="zh-CN" altLang="en-US" sz="1400">
                <a:solidFill>
                  <a:schemeClr val="accent1"/>
                </a:solidFill>
              </a:rPr>
              <a:t>技术审评报告</a:t>
            </a:r>
            <a:r>
              <a:rPr lang="en-US" altLang="zh-CN" sz="1400">
                <a:solidFill>
                  <a:schemeClr val="accent1"/>
                </a:solidFill>
              </a:rPr>
              <a:t>》</a:t>
            </a:r>
            <a:endParaRPr lang="zh-CN" altLang="en-US" sz="1400">
              <a:solidFill>
                <a:schemeClr val="accent1"/>
              </a:solidFill>
            </a:endParaRPr>
          </a:p>
        </p:txBody>
      </p:sp>
      <p:sp>
        <p:nvSpPr>
          <p:cNvPr id="30" name="文本框 29">
            <a:extLst>
              <a:ext uri="{FF2B5EF4-FFF2-40B4-BE49-F238E27FC236}">
                <a16:creationId xmlns:a16="http://schemas.microsoft.com/office/drawing/2014/main" id="{AC9E333A-3D34-4AF1-A085-B94E3E142757}"/>
              </a:ext>
            </a:extLst>
          </p:cNvPr>
          <p:cNvSpPr txBox="1"/>
          <p:nvPr/>
        </p:nvSpPr>
        <p:spPr>
          <a:xfrm>
            <a:off x="5454159" y="5457852"/>
            <a:ext cx="6099980" cy="553998"/>
          </a:xfrm>
          <a:prstGeom prst="rect">
            <a:avLst/>
          </a:prstGeom>
          <a:noFill/>
        </p:spPr>
        <p:txBody>
          <a:bodyPr wrap="square">
            <a:spAutoFit/>
          </a:bodyPr>
          <a:lstStyle/>
          <a:p>
            <a:pPr marL="171450" indent="-171450">
              <a:buFont typeface="Arial" panose="020B0604020202020204" pitchFamily="34" charset="0"/>
              <a:buChar char="•"/>
            </a:pPr>
            <a:r>
              <a:rPr lang="zh-CN" altLang="en-US" sz="1000"/>
              <a:t>一项国际多中心临床试验（为中国</a:t>
            </a:r>
            <a:r>
              <a:rPr lang="en-US" altLang="zh-CN" sz="1000"/>
              <a:t>406</a:t>
            </a:r>
            <a:r>
              <a:rPr lang="zh-CN" altLang="en-US" sz="1000"/>
              <a:t>名和日本</a:t>
            </a:r>
            <a:r>
              <a:rPr lang="en-US" altLang="zh-CN" sz="1000"/>
              <a:t>142</a:t>
            </a:r>
            <a:r>
              <a:rPr lang="zh-CN" altLang="en-US" sz="1000"/>
              <a:t>名受试者），采用随机、双盲、安慰剂对照、优效性设计。结果表明，拉考沙胺</a:t>
            </a:r>
            <a:r>
              <a:rPr lang="en-US" altLang="zh-CN" sz="1000"/>
              <a:t>400</a:t>
            </a:r>
            <a:r>
              <a:rPr lang="zh-CN" altLang="en-US" sz="1000"/>
              <a:t>和</a:t>
            </a:r>
            <a:r>
              <a:rPr lang="en-US" altLang="zh-CN" sz="1000"/>
              <a:t>200mg/</a:t>
            </a:r>
            <a:r>
              <a:rPr lang="zh-CN" altLang="en-US" sz="1000"/>
              <a:t>日组每</a:t>
            </a:r>
            <a:r>
              <a:rPr lang="en-US" altLang="zh-CN" sz="1000"/>
              <a:t>28</a:t>
            </a:r>
            <a:r>
              <a:rPr lang="zh-CN" altLang="en-US" sz="1000"/>
              <a:t>天疾病发作频率较基线分别降低</a:t>
            </a:r>
            <a:r>
              <a:rPr lang="en-US" altLang="zh-CN" sz="1000"/>
              <a:t>39.6%</a:t>
            </a:r>
            <a:r>
              <a:rPr lang="zh-CN" altLang="en-US" sz="1000"/>
              <a:t>和</a:t>
            </a:r>
            <a:r>
              <a:rPr lang="en-US" altLang="zh-CN" sz="1000"/>
              <a:t>29.4%</a:t>
            </a:r>
            <a:r>
              <a:rPr lang="zh-CN" altLang="en-US" sz="1000"/>
              <a:t>，均有统计学意义和临床意义</a:t>
            </a:r>
            <a:r>
              <a:rPr lang="en-US" altLang="zh-CN" sz="1000"/>
              <a:t>(p&lt;0.001)</a:t>
            </a:r>
            <a:r>
              <a:rPr lang="zh-CN" altLang="en-US" sz="1000"/>
              <a:t>。 </a:t>
            </a:r>
          </a:p>
        </p:txBody>
      </p:sp>
    </p:spTree>
    <p:extLst>
      <p:ext uri="{BB962C8B-B14F-4D97-AF65-F5344CB8AC3E}">
        <p14:creationId xmlns:p14="http://schemas.microsoft.com/office/powerpoint/2010/main" val="303605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882DBFC1-2357-4D27-B43B-C59018AE01E4}"/>
              </a:ext>
            </a:extLst>
          </p:cNvPr>
          <p:cNvGraphicFramePr>
            <a:graphicFrameLocks noChangeAspect="1"/>
          </p:cNvGraphicFramePr>
          <p:nvPr>
            <p:custDataLst>
              <p:tags r:id="rId1"/>
            </p:custDataLst>
            <p:extLst>
              <p:ext uri="{D42A27DB-BD31-4B8C-83A1-F6EECF244321}">
                <p14:modId xmlns:p14="http://schemas.microsoft.com/office/powerpoint/2010/main" val="96525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882DBFC1-2357-4D27-B43B-C59018AE01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文本占位符 3">
            <a:extLst>
              <a:ext uri="{FF2B5EF4-FFF2-40B4-BE49-F238E27FC236}">
                <a16:creationId xmlns:a16="http://schemas.microsoft.com/office/drawing/2014/main" id="{149AAC24-7F42-427C-B9D9-45A46AAAD525}"/>
              </a:ext>
            </a:extLst>
          </p:cNvPr>
          <p:cNvSpPr>
            <a:spLocks noGrp="1"/>
          </p:cNvSpPr>
          <p:nvPr>
            <p:ph type="body" sz="quarter" idx="11"/>
          </p:nvPr>
        </p:nvSpPr>
        <p:spPr/>
        <p:txBody>
          <a:bodyPr/>
          <a:lstStyle/>
          <a:p>
            <a:endParaRPr lang="zh-CN" altLang="en-US"/>
          </a:p>
        </p:txBody>
      </p:sp>
      <p:sp>
        <p:nvSpPr>
          <p:cNvPr id="7" name="标题 1">
            <a:extLst>
              <a:ext uri="{FF2B5EF4-FFF2-40B4-BE49-F238E27FC236}">
                <a16:creationId xmlns:a16="http://schemas.microsoft.com/office/drawing/2014/main" id="{956D8630-5575-47B6-A797-5060FD875E07}"/>
              </a:ext>
            </a:extLst>
          </p:cNvPr>
          <p:cNvSpPr>
            <a:spLocks noGrp="1"/>
          </p:cNvSpPr>
          <p:nvPr>
            <p:ph type="title"/>
          </p:nvPr>
        </p:nvSpPr>
        <p:spPr>
          <a:xfrm>
            <a:off x="616527" y="2428652"/>
            <a:ext cx="2761673" cy="480131"/>
          </a:xfrm>
        </p:spPr>
        <p:txBody>
          <a:bodyPr vert="horz"/>
          <a:lstStyle/>
          <a:p>
            <a:r>
              <a:rPr lang="zh-CN" altLang="en-US"/>
              <a:t>创新性</a:t>
            </a:r>
          </a:p>
        </p:txBody>
      </p:sp>
      <p:sp>
        <p:nvSpPr>
          <p:cNvPr id="8" name="矩形 7">
            <a:extLst>
              <a:ext uri="{FF2B5EF4-FFF2-40B4-BE49-F238E27FC236}">
                <a16:creationId xmlns:a16="http://schemas.microsoft.com/office/drawing/2014/main" id="{B79227EC-A00D-4295-A132-C36C1CD35AD3}"/>
              </a:ext>
            </a:extLst>
          </p:cNvPr>
          <p:cNvSpPr/>
          <p:nvPr/>
        </p:nvSpPr>
        <p:spPr>
          <a:xfrm>
            <a:off x="616527" y="0"/>
            <a:ext cx="711941" cy="1604513"/>
          </a:xfrm>
          <a:prstGeom prst="rect">
            <a:avLst/>
          </a:prstGeom>
          <a:solidFill>
            <a:srgbClr val="001489"/>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sp>
        <p:nvSpPr>
          <p:cNvPr id="9" name="椭圆 8">
            <a:extLst>
              <a:ext uri="{FF2B5EF4-FFF2-40B4-BE49-F238E27FC236}">
                <a16:creationId xmlns:a16="http://schemas.microsoft.com/office/drawing/2014/main" id="{9FA45F02-103C-48AE-8A33-FE78CB9476B6}"/>
              </a:ext>
            </a:extLst>
          </p:cNvPr>
          <p:cNvSpPr/>
          <p:nvPr/>
        </p:nvSpPr>
        <p:spPr>
          <a:xfrm>
            <a:off x="616527" y="1292553"/>
            <a:ext cx="720567" cy="623920"/>
          </a:xfrm>
          <a:prstGeom prst="ellipse">
            <a:avLst/>
          </a:prstGeom>
          <a:solidFill>
            <a:srgbClr val="0014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pic>
        <p:nvPicPr>
          <p:cNvPr id="10" name="Picture 4">
            <a:extLst>
              <a:ext uri="{FF2B5EF4-FFF2-40B4-BE49-F238E27FC236}">
                <a16:creationId xmlns:a16="http://schemas.microsoft.com/office/drawing/2014/main" id="{3CD48891-165F-4999-AE74-6AECC4D777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9316" y="3949218"/>
            <a:ext cx="1076371" cy="648722"/>
          </a:xfrm>
          <a:prstGeom prst="rect">
            <a:avLst/>
          </a:prstGeom>
          <a:noFill/>
          <a:extLst>
            <a:ext uri="{909E8E84-426E-40DD-AFC4-6F175D3DCCD1}">
              <a14:hiddenFill xmlns:a14="http://schemas.microsoft.com/office/drawing/2010/main">
                <a:solidFill>
                  <a:srgbClr val="FFFFFF"/>
                </a:solidFill>
              </a14:hiddenFill>
            </a:ext>
          </a:extLst>
        </p:spPr>
      </p:pic>
      <p:sp>
        <p:nvSpPr>
          <p:cNvPr id="11" name="文本框 10">
            <a:extLst>
              <a:ext uri="{FF2B5EF4-FFF2-40B4-BE49-F238E27FC236}">
                <a16:creationId xmlns:a16="http://schemas.microsoft.com/office/drawing/2014/main" id="{52562AA3-EBAF-45B0-89CD-6F98E0BC8B08}"/>
              </a:ext>
            </a:extLst>
          </p:cNvPr>
          <p:cNvSpPr txBox="1"/>
          <p:nvPr/>
        </p:nvSpPr>
        <p:spPr>
          <a:xfrm>
            <a:off x="765549" y="1266818"/>
            <a:ext cx="4138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FFFFF"/>
                </a:solidFill>
                <a:effectLst/>
                <a:uLnTx/>
                <a:uFillTx/>
                <a:latin typeface="Tahoma"/>
                <a:ea typeface="+mn-ea"/>
                <a:cs typeface="+mn-cs"/>
              </a:rPr>
              <a:t>4</a:t>
            </a:r>
            <a:endParaRPr kumimoji="0" lang="zh-CN" altLang="en-US" sz="2800" b="1" i="0" u="none" strike="noStrike" kern="1200" cap="none" spc="0" normalizeH="0" baseline="0" noProof="0" dirty="0">
              <a:ln>
                <a:noFill/>
              </a:ln>
              <a:solidFill>
                <a:srgbClr val="FFFFFF"/>
              </a:solidFill>
              <a:effectLst/>
              <a:uLnTx/>
              <a:uFillTx/>
              <a:latin typeface="Tahoma"/>
              <a:ea typeface="+mn-ea"/>
              <a:cs typeface="+mn-cs"/>
            </a:endParaRPr>
          </a:p>
        </p:txBody>
      </p:sp>
      <p:cxnSp>
        <p:nvCxnSpPr>
          <p:cNvPr id="12" name="直接连接符 11">
            <a:extLst>
              <a:ext uri="{FF2B5EF4-FFF2-40B4-BE49-F238E27FC236}">
                <a16:creationId xmlns:a16="http://schemas.microsoft.com/office/drawing/2014/main" id="{87B7FAEE-85F3-4E3D-B1B6-8F212965ADB4}"/>
              </a:ext>
            </a:extLst>
          </p:cNvPr>
          <p:cNvCxnSpPr/>
          <p:nvPr/>
        </p:nvCxnSpPr>
        <p:spPr>
          <a:xfrm>
            <a:off x="616527" y="3175000"/>
            <a:ext cx="936251"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3" name="图片 12">
            <a:extLst>
              <a:ext uri="{FF2B5EF4-FFF2-40B4-BE49-F238E27FC236}">
                <a16:creationId xmlns:a16="http://schemas.microsoft.com/office/drawing/2014/main" id="{337C1364-2760-45D0-B27A-AF74CECB892A}"/>
              </a:ext>
            </a:extLst>
          </p:cNvPr>
          <p:cNvPicPr>
            <a:picLocks noChangeAspect="1"/>
          </p:cNvPicPr>
          <p:nvPr/>
        </p:nvPicPr>
        <p:blipFill>
          <a:blip r:embed="rId6"/>
          <a:stretch>
            <a:fillRect/>
          </a:stretch>
        </p:blipFill>
        <p:spPr>
          <a:xfrm>
            <a:off x="1747779" y="3441218"/>
            <a:ext cx="2515534" cy="19396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5" name="文本框 14">
            <a:extLst>
              <a:ext uri="{FF2B5EF4-FFF2-40B4-BE49-F238E27FC236}">
                <a16:creationId xmlns:a16="http://schemas.microsoft.com/office/drawing/2014/main" id="{DB166119-7A8F-43BF-AC3F-28CBF41768AC}"/>
              </a:ext>
            </a:extLst>
          </p:cNvPr>
          <p:cNvSpPr txBox="1"/>
          <p:nvPr/>
        </p:nvSpPr>
        <p:spPr>
          <a:xfrm>
            <a:off x="6342722" y="1788599"/>
            <a:ext cx="4690146" cy="523220"/>
          </a:xfrm>
          <a:prstGeom prst="rect">
            <a:avLst/>
          </a:prstGeom>
          <a:noFill/>
        </p:spPr>
        <p:txBody>
          <a:bodyPr wrap="square">
            <a:spAutoFit/>
          </a:bodyPr>
          <a:lstStyle/>
          <a:p>
            <a:r>
              <a:rPr lang="zh-CN" altLang="en-US" sz="1400"/>
              <a:t>拉考沙胺口服溶液是目前唯一上市的</a:t>
            </a:r>
            <a:r>
              <a:rPr lang="zh-CN" altLang="en-US" sz="1400" b="1"/>
              <a:t>第三代抗癫痫药物</a:t>
            </a:r>
            <a:r>
              <a:rPr lang="zh-CN" altLang="en-US" sz="1400"/>
              <a:t>，</a:t>
            </a:r>
            <a:r>
              <a:rPr lang="zh-CN" altLang="en-US" sz="1400" b="1"/>
              <a:t>专为儿童设计</a:t>
            </a:r>
            <a:r>
              <a:rPr lang="zh-CN" altLang="en-US" sz="1400"/>
              <a:t>，临床替代原有片剂治疗方案</a:t>
            </a:r>
          </a:p>
        </p:txBody>
      </p:sp>
      <p:pic>
        <p:nvPicPr>
          <p:cNvPr id="19" name="图片 18" descr="图片包含 图示&#10;&#10;描述已自动生成">
            <a:extLst>
              <a:ext uri="{FF2B5EF4-FFF2-40B4-BE49-F238E27FC236}">
                <a16:creationId xmlns:a16="http://schemas.microsoft.com/office/drawing/2014/main" id="{93E86F30-5AB5-402E-8DD6-096446CFA84F}"/>
              </a:ext>
            </a:extLst>
          </p:cNvPr>
          <p:cNvPicPr>
            <a:picLocks noChangeAspect="1"/>
          </p:cNvPicPr>
          <p:nvPr/>
        </p:nvPicPr>
        <p:blipFill>
          <a:blip r:embed="rId7"/>
          <a:stretch>
            <a:fillRect/>
          </a:stretch>
        </p:blipFill>
        <p:spPr>
          <a:xfrm>
            <a:off x="5240339" y="1564953"/>
            <a:ext cx="855661" cy="855661"/>
          </a:xfrm>
          <a:prstGeom prst="rect">
            <a:avLst/>
          </a:prstGeom>
        </p:spPr>
      </p:pic>
      <p:sp>
        <p:nvSpPr>
          <p:cNvPr id="21" name="文本框 20">
            <a:extLst>
              <a:ext uri="{FF2B5EF4-FFF2-40B4-BE49-F238E27FC236}">
                <a16:creationId xmlns:a16="http://schemas.microsoft.com/office/drawing/2014/main" id="{11914D9A-0D3A-4F8D-BE30-43864F9B6E65}"/>
              </a:ext>
            </a:extLst>
          </p:cNvPr>
          <p:cNvSpPr txBox="1"/>
          <p:nvPr/>
        </p:nvSpPr>
        <p:spPr>
          <a:xfrm>
            <a:off x="6342722" y="3391311"/>
            <a:ext cx="4690146" cy="738664"/>
          </a:xfrm>
          <a:prstGeom prst="rect">
            <a:avLst/>
          </a:prstGeom>
          <a:noFill/>
        </p:spPr>
        <p:txBody>
          <a:bodyPr wrap="square">
            <a:spAutoFit/>
          </a:bodyPr>
          <a:lstStyle/>
          <a:p>
            <a:r>
              <a:rPr lang="zh-CN" altLang="en-US" sz="1400"/>
              <a:t>口服溶液作为新剂型，</a:t>
            </a:r>
            <a:r>
              <a:rPr lang="zh-CN" altLang="en-US" sz="1400" b="1"/>
              <a:t>更适合儿童使用，剂量精准</a:t>
            </a:r>
            <a:r>
              <a:rPr lang="zh-CN" altLang="en-US" sz="1400"/>
              <a:t>，服用方便，避免小年龄儿童由于需要小剂量，家长自行剪切片剂，导致剂量不精准的问题以及造成不必要的浪费</a:t>
            </a:r>
          </a:p>
        </p:txBody>
      </p:sp>
      <p:pic>
        <p:nvPicPr>
          <p:cNvPr id="3" name="图片 2">
            <a:extLst>
              <a:ext uri="{FF2B5EF4-FFF2-40B4-BE49-F238E27FC236}">
                <a16:creationId xmlns:a16="http://schemas.microsoft.com/office/drawing/2014/main" id="{0CB3BF56-B9CB-4A9B-8FB9-7B82349FE857}"/>
              </a:ext>
            </a:extLst>
          </p:cNvPr>
          <p:cNvPicPr>
            <a:picLocks noChangeAspect="1"/>
          </p:cNvPicPr>
          <p:nvPr/>
        </p:nvPicPr>
        <p:blipFill>
          <a:blip r:embed="rId8"/>
          <a:stretch>
            <a:fillRect/>
          </a:stretch>
        </p:blipFill>
        <p:spPr>
          <a:xfrm>
            <a:off x="5165881" y="3295107"/>
            <a:ext cx="1071644" cy="1076582"/>
          </a:xfrm>
          <a:prstGeom prst="rect">
            <a:avLst/>
          </a:prstGeom>
        </p:spPr>
      </p:pic>
    </p:spTree>
    <p:extLst>
      <p:ext uri="{BB962C8B-B14F-4D97-AF65-F5344CB8AC3E}">
        <p14:creationId xmlns:p14="http://schemas.microsoft.com/office/powerpoint/2010/main" val="429353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D7D9FDAD-DC6E-454D-92CD-D3A0E635E96D}"/>
              </a:ext>
            </a:extLst>
          </p:cNvPr>
          <p:cNvGraphicFramePr>
            <a:graphicFrameLocks noChangeAspect="1"/>
          </p:cNvGraphicFramePr>
          <p:nvPr>
            <p:custDataLst>
              <p:tags r:id="rId1"/>
            </p:custDataLst>
            <p:extLst>
              <p:ext uri="{D42A27DB-BD31-4B8C-83A1-F6EECF244321}">
                <p14:modId xmlns:p14="http://schemas.microsoft.com/office/powerpoint/2010/main" val="1920257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47" imgH="348" progId="TCLayout.ActiveDocument.1">
                  <p:embed/>
                </p:oleObj>
              </mc:Choice>
              <mc:Fallback>
                <p:oleObj name="think-cell 幻灯片" r:id="rId3" imgW="347" imgH="348" progId="TCLayout.ActiveDocument.1">
                  <p:embed/>
                  <p:pic>
                    <p:nvPicPr>
                      <p:cNvPr id="6" name="对象 5" hidden="1">
                        <a:extLst>
                          <a:ext uri="{FF2B5EF4-FFF2-40B4-BE49-F238E27FC236}">
                            <a16:creationId xmlns:a16="http://schemas.microsoft.com/office/drawing/2014/main" id="{D7D9FDAD-DC6E-454D-92CD-D3A0E635E9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文本占位符 3">
            <a:extLst>
              <a:ext uri="{FF2B5EF4-FFF2-40B4-BE49-F238E27FC236}">
                <a16:creationId xmlns:a16="http://schemas.microsoft.com/office/drawing/2014/main" id="{56B1FD6B-C5BA-481C-ABAC-1FF09495002D}"/>
              </a:ext>
            </a:extLst>
          </p:cNvPr>
          <p:cNvSpPr>
            <a:spLocks noGrp="1"/>
          </p:cNvSpPr>
          <p:nvPr>
            <p:ph type="body" sz="quarter" idx="11"/>
          </p:nvPr>
        </p:nvSpPr>
        <p:spPr/>
        <p:txBody>
          <a:bodyPr/>
          <a:lstStyle/>
          <a:p>
            <a:endParaRPr lang="zh-CN" altLang="en-US"/>
          </a:p>
        </p:txBody>
      </p:sp>
      <p:sp>
        <p:nvSpPr>
          <p:cNvPr id="7" name="标题 1">
            <a:extLst>
              <a:ext uri="{FF2B5EF4-FFF2-40B4-BE49-F238E27FC236}">
                <a16:creationId xmlns:a16="http://schemas.microsoft.com/office/drawing/2014/main" id="{413B1C45-2C6B-425C-A077-F3C3971FE507}"/>
              </a:ext>
            </a:extLst>
          </p:cNvPr>
          <p:cNvSpPr>
            <a:spLocks noGrp="1"/>
          </p:cNvSpPr>
          <p:nvPr>
            <p:ph type="title"/>
          </p:nvPr>
        </p:nvSpPr>
        <p:spPr>
          <a:xfrm>
            <a:off x="616527" y="2428652"/>
            <a:ext cx="2761673" cy="480131"/>
          </a:xfrm>
        </p:spPr>
        <p:txBody>
          <a:bodyPr vert="horz"/>
          <a:lstStyle/>
          <a:p>
            <a:r>
              <a:rPr lang="zh-CN" altLang="en-US"/>
              <a:t>公平性</a:t>
            </a:r>
          </a:p>
        </p:txBody>
      </p:sp>
      <p:sp>
        <p:nvSpPr>
          <p:cNvPr id="8" name="矩形 7">
            <a:extLst>
              <a:ext uri="{FF2B5EF4-FFF2-40B4-BE49-F238E27FC236}">
                <a16:creationId xmlns:a16="http://schemas.microsoft.com/office/drawing/2014/main" id="{DF54D681-412E-4AE2-9337-673FC4702272}"/>
              </a:ext>
            </a:extLst>
          </p:cNvPr>
          <p:cNvSpPr/>
          <p:nvPr/>
        </p:nvSpPr>
        <p:spPr>
          <a:xfrm>
            <a:off x="616527" y="0"/>
            <a:ext cx="711941" cy="1604513"/>
          </a:xfrm>
          <a:prstGeom prst="rect">
            <a:avLst/>
          </a:prstGeom>
          <a:solidFill>
            <a:srgbClr val="001489"/>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sp>
        <p:nvSpPr>
          <p:cNvPr id="9" name="椭圆 8">
            <a:extLst>
              <a:ext uri="{FF2B5EF4-FFF2-40B4-BE49-F238E27FC236}">
                <a16:creationId xmlns:a16="http://schemas.microsoft.com/office/drawing/2014/main" id="{992AD4E8-5D8A-4AE9-AF1B-9ABBA008B5EA}"/>
              </a:ext>
            </a:extLst>
          </p:cNvPr>
          <p:cNvSpPr/>
          <p:nvPr/>
        </p:nvSpPr>
        <p:spPr>
          <a:xfrm>
            <a:off x="616527" y="1292553"/>
            <a:ext cx="720567" cy="623920"/>
          </a:xfrm>
          <a:prstGeom prst="ellipse">
            <a:avLst/>
          </a:prstGeom>
          <a:solidFill>
            <a:srgbClr val="00148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a:ln>
                <a:noFill/>
              </a:ln>
              <a:solidFill>
                <a:srgbClr val="001489"/>
              </a:solidFill>
              <a:effectLst/>
              <a:uLnTx/>
              <a:uFillTx/>
              <a:latin typeface="Tahoma"/>
              <a:ea typeface="+mn-ea"/>
              <a:cs typeface="+mn-cs"/>
            </a:endParaRPr>
          </a:p>
        </p:txBody>
      </p:sp>
      <p:pic>
        <p:nvPicPr>
          <p:cNvPr id="10" name="Picture 4">
            <a:extLst>
              <a:ext uri="{FF2B5EF4-FFF2-40B4-BE49-F238E27FC236}">
                <a16:creationId xmlns:a16="http://schemas.microsoft.com/office/drawing/2014/main" id="{436D4993-358B-439F-9D17-BCBC06F629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9316" y="3949218"/>
            <a:ext cx="1076371" cy="648722"/>
          </a:xfrm>
          <a:prstGeom prst="rect">
            <a:avLst/>
          </a:prstGeom>
          <a:noFill/>
          <a:extLst>
            <a:ext uri="{909E8E84-426E-40DD-AFC4-6F175D3DCCD1}">
              <a14:hiddenFill xmlns:a14="http://schemas.microsoft.com/office/drawing/2010/main">
                <a:solidFill>
                  <a:srgbClr val="FFFFFF"/>
                </a:solidFill>
              </a14:hiddenFill>
            </a:ext>
          </a:extLst>
        </p:spPr>
      </p:pic>
      <p:sp>
        <p:nvSpPr>
          <p:cNvPr id="11" name="文本框 10">
            <a:extLst>
              <a:ext uri="{FF2B5EF4-FFF2-40B4-BE49-F238E27FC236}">
                <a16:creationId xmlns:a16="http://schemas.microsoft.com/office/drawing/2014/main" id="{5390B9F4-95D2-4580-B390-CC61EE2ED9D4}"/>
              </a:ext>
            </a:extLst>
          </p:cNvPr>
          <p:cNvSpPr txBox="1"/>
          <p:nvPr/>
        </p:nvSpPr>
        <p:spPr>
          <a:xfrm>
            <a:off x="765549" y="1266818"/>
            <a:ext cx="41389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FFFFFF"/>
                </a:solidFill>
                <a:effectLst/>
                <a:uLnTx/>
                <a:uFillTx/>
                <a:latin typeface="Tahoma"/>
                <a:ea typeface="+mn-ea"/>
                <a:cs typeface="+mn-cs"/>
              </a:rPr>
              <a:t>5</a:t>
            </a:r>
            <a:endParaRPr kumimoji="0" lang="zh-CN" altLang="en-US" sz="2800" b="1" i="0" u="none" strike="noStrike" kern="1200" cap="none" spc="0" normalizeH="0" baseline="0" noProof="0" dirty="0">
              <a:ln>
                <a:noFill/>
              </a:ln>
              <a:solidFill>
                <a:srgbClr val="FFFFFF"/>
              </a:solidFill>
              <a:effectLst/>
              <a:uLnTx/>
              <a:uFillTx/>
              <a:latin typeface="Tahoma"/>
              <a:ea typeface="+mn-ea"/>
              <a:cs typeface="+mn-cs"/>
            </a:endParaRPr>
          </a:p>
        </p:txBody>
      </p:sp>
      <p:cxnSp>
        <p:nvCxnSpPr>
          <p:cNvPr id="12" name="直接连接符 11">
            <a:extLst>
              <a:ext uri="{FF2B5EF4-FFF2-40B4-BE49-F238E27FC236}">
                <a16:creationId xmlns:a16="http://schemas.microsoft.com/office/drawing/2014/main" id="{C9323EEF-BEF5-4805-B605-5F3DD4A05E27}"/>
              </a:ext>
            </a:extLst>
          </p:cNvPr>
          <p:cNvCxnSpPr/>
          <p:nvPr/>
        </p:nvCxnSpPr>
        <p:spPr>
          <a:xfrm>
            <a:off x="616527" y="3175000"/>
            <a:ext cx="936251"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13" name="图片 12">
            <a:extLst>
              <a:ext uri="{FF2B5EF4-FFF2-40B4-BE49-F238E27FC236}">
                <a16:creationId xmlns:a16="http://schemas.microsoft.com/office/drawing/2014/main" id="{293A4D5D-D999-42E8-8AA5-FEB0A826CEC6}"/>
              </a:ext>
            </a:extLst>
          </p:cNvPr>
          <p:cNvPicPr>
            <a:picLocks noChangeAspect="1"/>
          </p:cNvPicPr>
          <p:nvPr/>
        </p:nvPicPr>
        <p:blipFill>
          <a:blip r:embed="rId6"/>
          <a:stretch>
            <a:fillRect/>
          </a:stretch>
        </p:blipFill>
        <p:spPr>
          <a:xfrm>
            <a:off x="1747779" y="3441218"/>
            <a:ext cx="2515534" cy="193968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6" name="图片 15" descr="图标&#10;&#10;描述已自动生成">
            <a:extLst>
              <a:ext uri="{FF2B5EF4-FFF2-40B4-BE49-F238E27FC236}">
                <a16:creationId xmlns:a16="http://schemas.microsoft.com/office/drawing/2014/main" id="{3FEF15F2-9D73-4646-9FFA-8A2AE56B4998}"/>
              </a:ext>
            </a:extLst>
          </p:cNvPr>
          <p:cNvPicPr>
            <a:picLocks noChangeAspect="1"/>
          </p:cNvPicPr>
          <p:nvPr/>
        </p:nvPicPr>
        <p:blipFill>
          <a:blip r:embed="rId7"/>
          <a:stretch>
            <a:fillRect/>
          </a:stretch>
        </p:blipFill>
        <p:spPr>
          <a:xfrm>
            <a:off x="5310471" y="1304024"/>
            <a:ext cx="857800" cy="855661"/>
          </a:xfrm>
          <a:prstGeom prst="rect">
            <a:avLst/>
          </a:prstGeom>
        </p:spPr>
      </p:pic>
      <p:sp>
        <p:nvSpPr>
          <p:cNvPr id="17" name="文本框 16">
            <a:extLst>
              <a:ext uri="{FF2B5EF4-FFF2-40B4-BE49-F238E27FC236}">
                <a16:creationId xmlns:a16="http://schemas.microsoft.com/office/drawing/2014/main" id="{1C8DE713-F875-4A64-81EB-B7D377FA26AD}"/>
              </a:ext>
            </a:extLst>
          </p:cNvPr>
          <p:cNvSpPr txBox="1"/>
          <p:nvPr/>
        </p:nvSpPr>
        <p:spPr>
          <a:xfrm>
            <a:off x="6366314" y="1731854"/>
            <a:ext cx="4452835" cy="1015663"/>
          </a:xfrm>
          <a:prstGeom prst="rect">
            <a:avLst/>
          </a:prstGeom>
          <a:noFill/>
        </p:spPr>
        <p:txBody>
          <a:bodyPr wrap="square" rtlCol="0">
            <a:spAutoFit/>
          </a:bodyPr>
          <a:lstStyle/>
          <a:p>
            <a:pPr algn="l"/>
            <a:r>
              <a:rPr lang="zh-CN" altLang="en-US" sz="1600">
                <a:solidFill>
                  <a:schemeClr val="accent1"/>
                </a:solidFill>
              </a:rPr>
              <a:t>年发病患者总数：</a:t>
            </a:r>
            <a:endParaRPr lang="en-US" altLang="zh-CN" sz="1600">
              <a:solidFill>
                <a:schemeClr val="accent1"/>
              </a:solidFill>
            </a:endParaRPr>
          </a:p>
          <a:p>
            <a:pPr algn="l"/>
            <a:endParaRPr lang="en-US" altLang="zh-CN" sz="1600">
              <a:solidFill>
                <a:schemeClr val="accent1"/>
              </a:solidFill>
            </a:endParaRPr>
          </a:p>
          <a:p>
            <a:pPr marL="285750" indent="-285750" algn="l">
              <a:buFont typeface="Arial" panose="020B0604020202020204" pitchFamily="34" charset="0"/>
              <a:buChar char="•"/>
            </a:pPr>
            <a:r>
              <a:rPr lang="zh-CN" altLang="en-US" sz="1400"/>
              <a:t>我国约有</a:t>
            </a:r>
            <a:r>
              <a:rPr lang="en-US" altLang="zh-CN" sz="1400"/>
              <a:t>600</a:t>
            </a:r>
            <a:r>
              <a:rPr lang="zh-CN" altLang="en-US" sz="1400"/>
              <a:t>万左右的活动性癫痫患者，新发癫痫患者每年</a:t>
            </a:r>
            <a:r>
              <a:rPr lang="en-US" altLang="zh-CN" sz="1400"/>
              <a:t>40</a:t>
            </a:r>
            <a:r>
              <a:rPr lang="zh-CN" altLang="en-US" sz="1400"/>
              <a:t>万左右，治疗中患者约</a:t>
            </a:r>
            <a:r>
              <a:rPr lang="en-US" altLang="zh-CN" sz="1400"/>
              <a:t>200</a:t>
            </a:r>
            <a:r>
              <a:rPr lang="zh-CN" altLang="en-US" sz="1400"/>
              <a:t>万</a:t>
            </a:r>
          </a:p>
        </p:txBody>
      </p:sp>
      <p:sp>
        <p:nvSpPr>
          <p:cNvPr id="18" name="文本框 17">
            <a:extLst>
              <a:ext uri="{FF2B5EF4-FFF2-40B4-BE49-F238E27FC236}">
                <a16:creationId xmlns:a16="http://schemas.microsoft.com/office/drawing/2014/main" id="{DBF35ECF-19E3-4AFE-BFBD-CD34ED7432BF}"/>
              </a:ext>
            </a:extLst>
          </p:cNvPr>
          <p:cNvSpPr txBox="1"/>
          <p:nvPr/>
        </p:nvSpPr>
        <p:spPr>
          <a:xfrm>
            <a:off x="6366312" y="3062898"/>
            <a:ext cx="4694771" cy="1661993"/>
          </a:xfrm>
          <a:prstGeom prst="rect">
            <a:avLst/>
          </a:prstGeom>
          <a:noFill/>
        </p:spPr>
        <p:txBody>
          <a:bodyPr wrap="square" rtlCol="0">
            <a:spAutoFit/>
          </a:bodyPr>
          <a:lstStyle/>
          <a:p>
            <a:pPr algn="l"/>
            <a:r>
              <a:rPr lang="zh-CN" altLang="en-US" sz="1600" dirty="0">
                <a:solidFill>
                  <a:schemeClr val="accent1"/>
                </a:solidFill>
              </a:rPr>
              <a:t>弥补药品目录短板：</a:t>
            </a:r>
            <a:endParaRPr lang="en-US" altLang="zh-CN" sz="1600" dirty="0">
              <a:solidFill>
                <a:schemeClr val="accent1"/>
              </a:solidFill>
            </a:endParaRPr>
          </a:p>
          <a:p>
            <a:pPr algn="l"/>
            <a:endParaRPr lang="en-US" altLang="zh-CN" sz="1600" dirty="0">
              <a:solidFill>
                <a:schemeClr val="accent1"/>
              </a:solidFill>
            </a:endParaRPr>
          </a:p>
          <a:p>
            <a:pPr marL="171450" indent="-171450" algn="l">
              <a:buFont typeface="Arial" panose="020B0604020202020204" pitchFamily="34" charset="0"/>
              <a:buChar char="•"/>
            </a:pPr>
            <a:r>
              <a:rPr lang="zh-CN" altLang="en-US" sz="1400" dirty="0"/>
              <a:t>拉考沙胺片剂已列入医保目录，但片剂最小规格</a:t>
            </a:r>
            <a:r>
              <a:rPr lang="en-US" altLang="zh-CN" sz="1400" dirty="0"/>
              <a:t>50mg</a:t>
            </a:r>
            <a:r>
              <a:rPr lang="zh-CN" altLang="en-US" sz="1400" dirty="0"/>
              <a:t>，不方便小年龄儿童使用。如体重</a:t>
            </a:r>
            <a:r>
              <a:rPr lang="en-US" altLang="zh-CN" sz="1400" dirty="0"/>
              <a:t>=20kg</a:t>
            </a:r>
            <a:r>
              <a:rPr lang="zh-CN" altLang="en-US" sz="1400" dirty="0"/>
              <a:t>的儿童，起始剂量为</a:t>
            </a:r>
            <a:r>
              <a:rPr lang="en-US" altLang="zh-CN" sz="1400" dirty="0"/>
              <a:t>2mg</a:t>
            </a:r>
            <a:r>
              <a:rPr lang="zh-CN" altLang="en-US" sz="1400" dirty="0"/>
              <a:t>，患者使用片剂时，经常要掰碎、研磨或溶解片剂。口服溶液相比片剂，精准取量、减少浪费，更适合儿童</a:t>
            </a:r>
          </a:p>
        </p:txBody>
      </p:sp>
      <p:sp>
        <p:nvSpPr>
          <p:cNvPr id="19" name="文本框 18">
            <a:extLst>
              <a:ext uri="{FF2B5EF4-FFF2-40B4-BE49-F238E27FC236}">
                <a16:creationId xmlns:a16="http://schemas.microsoft.com/office/drawing/2014/main" id="{C6CEA25B-9150-4EF0-9B72-8DB70DC2935A}"/>
              </a:ext>
            </a:extLst>
          </p:cNvPr>
          <p:cNvSpPr txBox="1"/>
          <p:nvPr/>
        </p:nvSpPr>
        <p:spPr>
          <a:xfrm>
            <a:off x="6366313" y="4881420"/>
            <a:ext cx="4694771" cy="800219"/>
          </a:xfrm>
          <a:prstGeom prst="rect">
            <a:avLst/>
          </a:prstGeom>
          <a:noFill/>
        </p:spPr>
        <p:txBody>
          <a:bodyPr wrap="square" rtlCol="0">
            <a:spAutoFit/>
          </a:bodyPr>
          <a:lstStyle/>
          <a:p>
            <a:pPr algn="l"/>
            <a:r>
              <a:rPr lang="zh-CN" altLang="en-US" sz="1600">
                <a:solidFill>
                  <a:schemeClr val="accent1"/>
                </a:solidFill>
              </a:rPr>
              <a:t>临床管理难度：</a:t>
            </a:r>
            <a:endParaRPr lang="en-US" altLang="zh-CN" sz="1600">
              <a:solidFill>
                <a:schemeClr val="accent1"/>
              </a:solidFill>
            </a:endParaRPr>
          </a:p>
          <a:p>
            <a:pPr algn="l"/>
            <a:endParaRPr lang="en-US" altLang="zh-CN" sz="1600">
              <a:solidFill>
                <a:schemeClr val="accent1"/>
              </a:solidFill>
            </a:endParaRPr>
          </a:p>
          <a:p>
            <a:pPr marL="285750" indent="-285750" algn="l">
              <a:buFont typeface="Arial" panose="020B0604020202020204" pitchFamily="34" charset="0"/>
              <a:buChar char="•"/>
            </a:pPr>
            <a:r>
              <a:rPr lang="zh-CN" altLang="en-US" sz="1400"/>
              <a:t>口服液适用于儿童使用，建议限在儿科</a:t>
            </a:r>
            <a:endParaRPr lang="zh-CN" altLang="en-US" sz="1600"/>
          </a:p>
        </p:txBody>
      </p:sp>
    </p:spTree>
    <p:extLst>
      <p:ext uri="{BB962C8B-B14F-4D97-AF65-F5344CB8AC3E}">
        <p14:creationId xmlns:p14="http://schemas.microsoft.com/office/powerpoint/2010/main" val="1961375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占位符 5" descr="图片包含 人, 户外, 年轻, 草&#10;&#10;描述已自动生成">
            <a:extLst>
              <a:ext uri="{FF2B5EF4-FFF2-40B4-BE49-F238E27FC236}">
                <a16:creationId xmlns:a16="http://schemas.microsoft.com/office/drawing/2014/main" id="{D422D79A-ACFD-4315-AAB0-7AE12A95DA1C}"/>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a:ext>
            </a:extLst>
          </a:blip>
          <a:srcRect/>
          <a:stretch>
            <a:fillRect/>
          </a:stretch>
        </p:blipFill>
        <p:spPr/>
      </p:pic>
      <p:sp>
        <p:nvSpPr>
          <p:cNvPr id="8" name="Title 2">
            <a:extLst>
              <a:ext uri="{FF2B5EF4-FFF2-40B4-BE49-F238E27FC236}">
                <a16:creationId xmlns:a16="http://schemas.microsoft.com/office/drawing/2014/main" id="{44F0534A-9F35-4B43-BE25-BEF251BC264D}"/>
              </a:ext>
            </a:extLst>
          </p:cNvPr>
          <p:cNvSpPr txBox="1">
            <a:spLocks/>
          </p:cNvSpPr>
          <p:nvPr/>
        </p:nvSpPr>
        <p:spPr>
          <a:xfrm>
            <a:off x="560388" y="4598856"/>
            <a:ext cx="4401079" cy="480131"/>
          </a:xfrm>
          <a:prstGeom prst="rect">
            <a:avLst/>
          </a:prstGeom>
        </p:spPr>
        <p:txBody>
          <a:bodyPr vert="horz" wrap="square" lIns="0" tIns="45720" rIns="36000" bIns="45720" rtlCol="0" anchor="b">
            <a:spAutoFit/>
          </a:bodyPr>
          <a:lstStyle>
            <a:lvl1pPr algn="l" defTabSz="914400" rtl="0" eaLnBrk="1" latinLnBrk="0" hangingPunct="1">
              <a:lnSpc>
                <a:spcPct val="90000"/>
              </a:lnSpc>
              <a:spcBef>
                <a:spcPct val="0"/>
              </a:spcBef>
              <a:buNone/>
              <a:defRPr sz="2800" b="1" kern="1200">
                <a:solidFill>
                  <a:schemeClr val="accent1"/>
                </a:solidFill>
                <a:latin typeface="+mj-lt"/>
                <a:ea typeface="+mj-ea"/>
                <a:cs typeface="+mj-cs"/>
              </a:defRPr>
            </a:lvl1pPr>
          </a:lstStyle>
          <a:p>
            <a:r>
              <a:rPr lang="zh-CN" altLang="en-US" dirty="0"/>
              <a:t>谢谢您的阅读</a:t>
            </a:r>
            <a:endParaRPr lang="en-BE" dirty="0"/>
          </a:p>
        </p:txBody>
      </p:sp>
      <p:sp>
        <p:nvSpPr>
          <p:cNvPr id="9" name="Subtitle 3">
            <a:extLst>
              <a:ext uri="{FF2B5EF4-FFF2-40B4-BE49-F238E27FC236}">
                <a16:creationId xmlns:a16="http://schemas.microsoft.com/office/drawing/2014/main" id="{33FA5317-1611-406A-A39E-F669FA2CDFFD}"/>
              </a:ext>
            </a:extLst>
          </p:cNvPr>
          <p:cNvSpPr txBox="1">
            <a:spLocks/>
          </p:cNvSpPr>
          <p:nvPr/>
        </p:nvSpPr>
        <p:spPr>
          <a:xfrm>
            <a:off x="560388" y="5171062"/>
            <a:ext cx="4401079" cy="338554"/>
          </a:xfrm>
          <a:prstGeom prst="rect">
            <a:avLst/>
          </a:prstGeom>
        </p:spPr>
        <p:txBody>
          <a:bodyPr vert="horz" wrap="square" lIns="0" tIns="45720" rIns="36000" bIns="45720" rtlCol="0">
            <a:spAutoFit/>
          </a:bodyPr>
          <a:lstStyle>
            <a:lvl1pPr marL="0" indent="0" algn="l" defTabSz="914400" rtl="0" eaLnBrk="1" latinLnBrk="0" hangingPunct="1">
              <a:lnSpc>
                <a:spcPct val="100000"/>
              </a:lnSpc>
              <a:spcBef>
                <a:spcPts val="0"/>
              </a:spcBef>
              <a:buClr>
                <a:schemeClr val="accent1"/>
              </a:buClr>
              <a:buFont typeface="Arial" panose="020B0604020202020204" pitchFamily="34" charset="0"/>
              <a:buNone/>
              <a:defRPr sz="1600" kern="1200">
                <a:solidFill>
                  <a:schemeClr val="accent1"/>
                </a:solidFill>
                <a:latin typeface="+mn-lt"/>
                <a:ea typeface="+mn-ea"/>
                <a:cs typeface="+mn-cs"/>
              </a:defRPr>
            </a:lvl1pPr>
            <a:lvl2pPr marL="457200" indent="0" algn="ctr" defTabSz="914400" rtl="0" eaLnBrk="1" latinLnBrk="0" hangingPunct="1">
              <a:lnSpc>
                <a:spcPct val="90000"/>
              </a:lnSpc>
              <a:spcBef>
                <a:spcPts val="500"/>
              </a:spcBef>
              <a:buClr>
                <a:schemeClr val="accent1"/>
              </a:buClr>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Clr>
                <a:schemeClr val="accent1"/>
              </a:buClr>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ltLang="zh-CN"/>
              <a:t>2022</a:t>
            </a:r>
            <a:r>
              <a:rPr lang="zh-CN" altLang="en-US"/>
              <a:t>年</a:t>
            </a:r>
            <a:r>
              <a:rPr lang="en-US" altLang="zh-CN"/>
              <a:t>7</a:t>
            </a:r>
            <a:r>
              <a:rPr lang="zh-CN" altLang="en-US"/>
              <a:t>月</a:t>
            </a:r>
            <a:endParaRPr lang="en-BE"/>
          </a:p>
        </p:txBody>
      </p:sp>
    </p:spTree>
    <p:extLst>
      <p:ext uri="{BB962C8B-B14F-4D97-AF65-F5344CB8AC3E}">
        <p14:creationId xmlns:p14="http://schemas.microsoft.com/office/powerpoint/2010/main" val="3067407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CB 2022">
  <a:themeElements>
    <a:clrScheme name="UCB 2022">
      <a:dk1>
        <a:srgbClr val="4B4F54"/>
      </a:dk1>
      <a:lt1>
        <a:srgbClr val="FFFFFF"/>
      </a:lt1>
      <a:dk2>
        <a:srgbClr val="4B4F54"/>
      </a:dk2>
      <a:lt2>
        <a:srgbClr val="CFD3D3"/>
      </a:lt2>
      <a:accent1>
        <a:srgbClr val="001489"/>
      </a:accent1>
      <a:accent2>
        <a:srgbClr val="F07F7F"/>
      </a:accent2>
      <a:accent3>
        <a:srgbClr val="FFC557"/>
      </a:accent3>
      <a:accent4>
        <a:srgbClr val="D3C0CC"/>
      </a:accent4>
      <a:accent5>
        <a:srgbClr val="71C5E8"/>
      </a:accent5>
      <a:accent6>
        <a:srgbClr val="6BCABA"/>
      </a:accent6>
      <a:hlink>
        <a:srgbClr val="001489"/>
      </a:hlink>
      <a:folHlink>
        <a:srgbClr val="3F4443"/>
      </a:folHlink>
    </a:clrScheme>
    <a:fontScheme name="UCB2022">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1"/>
          </a:solidFill>
        </a:ln>
      </a:spPr>
      <a:bodyPr rtlCol="0" anchor="ctr"/>
      <a:lstStyle>
        <a:defPPr algn="ctr">
          <a:defRPr sz="1400" dirty="0"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smtClean="0"/>
        </a:defPPr>
      </a:lstStyle>
    </a:txDef>
  </a:objectDefaults>
  <a:extraClrSchemeLst/>
  <a:custClrLst>
    <a:custClr name="Deep Salmon">
      <a:srgbClr val="A84544"/>
    </a:custClr>
    <a:custClr name="Deep Marigold">
      <a:srgbClr val="996017"/>
    </a:custClr>
    <a:custClr name="Deep Lavender">
      <a:srgbClr val="784E90"/>
    </a:custClr>
    <a:custClr name="Light Lavender">
      <a:srgbClr val="D3C0CD"/>
    </a:custClr>
    <a:custClr name="Deep Teal">
      <a:srgbClr val="005683"/>
    </a:custClr>
    <a:custClr name="Teal">
      <a:srgbClr val="387F97"/>
    </a:custClr>
  </a:custClrLst>
  <a:extLst>
    <a:ext uri="{05A4C25C-085E-4340-85A3-A5531E510DB2}">
      <thm15:themeFamily xmlns:thm15="http://schemas.microsoft.com/office/thememl/2012/main" name="UCB_PPT_Covers_Section dividers_Thank you slides_Template_202201.pptx" id="{105F22F1-84A7-46BB-8F4E-C7624A132A7B}" vid="{D5327E52-44CC-450E-959E-E1E15D04EB3E}"/>
    </a:ext>
  </a:extLst>
</a:theme>
</file>

<file path=ppt/theme/theme2.xml><?xml version="1.0" encoding="utf-8"?>
<a:theme xmlns:a="http://schemas.openxmlformats.org/drawingml/2006/main" name="1_UCB 2022">
  <a:themeElements>
    <a:clrScheme name="UCB 2022">
      <a:dk1>
        <a:srgbClr val="4B4F54"/>
      </a:dk1>
      <a:lt1>
        <a:srgbClr val="FFFFFF"/>
      </a:lt1>
      <a:dk2>
        <a:srgbClr val="4B4F54"/>
      </a:dk2>
      <a:lt2>
        <a:srgbClr val="CFD3D3"/>
      </a:lt2>
      <a:accent1>
        <a:srgbClr val="001489"/>
      </a:accent1>
      <a:accent2>
        <a:srgbClr val="F07F7F"/>
      </a:accent2>
      <a:accent3>
        <a:srgbClr val="FFC557"/>
      </a:accent3>
      <a:accent4>
        <a:srgbClr val="D3C0CC"/>
      </a:accent4>
      <a:accent5>
        <a:srgbClr val="71C5E8"/>
      </a:accent5>
      <a:accent6>
        <a:srgbClr val="6BCABA"/>
      </a:accent6>
      <a:hlink>
        <a:srgbClr val="001489"/>
      </a:hlink>
      <a:folHlink>
        <a:srgbClr val="3F4443"/>
      </a:folHlink>
    </a:clrScheme>
    <a:fontScheme name="UCB2022">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accent1"/>
          </a:solidFill>
        </a:ln>
      </a:spPr>
      <a:bodyPr rtlCol="0" anchor="ctr"/>
      <a:lstStyle>
        <a:defPPr algn="ctr">
          <a:defRPr sz="1400" dirty="0" smtClean="0">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smtClean="0"/>
        </a:defPPr>
      </a:lstStyle>
    </a:txDef>
  </a:objectDefaults>
  <a:extraClrSchemeLst/>
  <a:custClrLst>
    <a:custClr name="Deep Salmon">
      <a:srgbClr val="A84544"/>
    </a:custClr>
    <a:custClr name="Deep Marigold">
      <a:srgbClr val="996017"/>
    </a:custClr>
    <a:custClr name="Deep Lavender">
      <a:srgbClr val="784E90"/>
    </a:custClr>
    <a:custClr name="Light Lavender">
      <a:srgbClr val="D3C0CD"/>
    </a:custClr>
    <a:custClr name="Deep Teal">
      <a:srgbClr val="005683"/>
    </a:custClr>
    <a:custClr name="Teal">
      <a:srgbClr val="387F97"/>
    </a:custClr>
  </a:custClrLst>
  <a:extLst>
    <a:ext uri="{05A4C25C-085E-4340-85A3-A5531E510DB2}">
      <thm15:themeFamily xmlns:thm15="http://schemas.microsoft.com/office/thememl/2012/main" name="UCB_PPT_Covers_Section dividers_Thank you slides_Template_202201.pptx" id="{105F22F1-84A7-46BB-8F4E-C7624A132A7B}" vid="{D5327E52-44CC-450E-959E-E1E15D04EB3E}"/>
    </a:ext>
  </a:extLst>
</a:theme>
</file>

<file path=ppt/theme/theme3.xml><?xml version="1.0" encoding="utf-8"?>
<a:theme xmlns:a="http://schemas.openxmlformats.org/drawingml/2006/main" name="Office Theme">
  <a:themeElements>
    <a:clrScheme name="UCB 2022">
      <a:dk1>
        <a:srgbClr val="4B4F54"/>
      </a:dk1>
      <a:lt1>
        <a:srgbClr val="FFFFFF"/>
      </a:lt1>
      <a:dk2>
        <a:srgbClr val="4B4F54"/>
      </a:dk2>
      <a:lt2>
        <a:srgbClr val="CFD3D3"/>
      </a:lt2>
      <a:accent1>
        <a:srgbClr val="001489"/>
      </a:accent1>
      <a:accent2>
        <a:srgbClr val="F07F7F"/>
      </a:accent2>
      <a:accent3>
        <a:srgbClr val="FFC557"/>
      </a:accent3>
      <a:accent4>
        <a:srgbClr val="D3C0CC"/>
      </a:accent4>
      <a:accent5>
        <a:srgbClr val="71C5E8"/>
      </a:accent5>
      <a:accent6>
        <a:srgbClr val="6BCABA"/>
      </a:accent6>
      <a:hlink>
        <a:srgbClr val="001489"/>
      </a:hlink>
      <a:folHlink>
        <a:srgbClr val="3F4443"/>
      </a:folHlink>
    </a:clrScheme>
    <a:fontScheme name="UCB2022">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UCB 2022">
      <a:dk1>
        <a:srgbClr val="4B4F54"/>
      </a:dk1>
      <a:lt1>
        <a:srgbClr val="FFFFFF"/>
      </a:lt1>
      <a:dk2>
        <a:srgbClr val="4B4F54"/>
      </a:dk2>
      <a:lt2>
        <a:srgbClr val="CFD3D3"/>
      </a:lt2>
      <a:accent1>
        <a:srgbClr val="001489"/>
      </a:accent1>
      <a:accent2>
        <a:srgbClr val="F07F7F"/>
      </a:accent2>
      <a:accent3>
        <a:srgbClr val="FFC557"/>
      </a:accent3>
      <a:accent4>
        <a:srgbClr val="D3C0CC"/>
      </a:accent4>
      <a:accent5>
        <a:srgbClr val="71C5E8"/>
      </a:accent5>
      <a:accent6>
        <a:srgbClr val="6BCABA"/>
      </a:accent6>
      <a:hlink>
        <a:srgbClr val="001489"/>
      </a:hlink>
      <a:folHlink>
        <a:srgbClr val="3F4443"/>
      </a:folHlink>
    </a:clrScheme>
    <a:fontScheme name="UCB2022">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8A9E6EE3D959C4D97B4945CAFBB40D1" ma:contentTypeVersion="8" ma:contentTypeDescription="Create a new document." ma:contentTypeScope="" ma:versionID="9f0a5af9690cf18aecaddeacd476881e">
  <xsd:schema xmlns:xsd="http://www.w3.org/2001/XMLSchema" xmlns:xs="http://www.w3.org/2001/XMLSchema" xmlns:p="http://schemas.microsoft.com/office/2006/metadata/properties" xmlns:ns2="46c657cc-7591-4bb2-865d-605084cee248" targetNamespace="http://schemas.microsoft.com/office/2006/metadata/properties" ma:root="true" ma:fieldsID="7459cfc9565a3354ab56ca3bc034bbd5" ns2:_="">
    <xsd:import namespace="46c657cc-7591-4bb2-865d-605084cee24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c657cc-7591-4bb2-865d-605084cee2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5DA51BF-6BE0-4521-B00D-71561E0F4DD4}">
  <ds:schemaRefs>
    <ds:schemaRef ds:uri="46c657cc-7591-4bb2-865d-605084cee24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D19CDE0-FB74-44A0-906C-14C39C973ABE}">
  <ds:schemaRefs>
    <ds:schemaRef ds:uri="26247848-9d7e-44a1-93d5-215e1cd2c77d"/>
    <ds:schemaRef ds:uri="8080ce30-d5ea-40e8-a48f-b77958a33e4e"/>
    <ds:schemaRef ds:uri="916c6f7b-ec1c-4b3b-b7de-3383df05ed7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57219B5-F0FD-42D3-9680-CBED8AAA449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ver Slides All Colors All Pictures</Template>
  <TotalTime>0</TotalTime>
  <Words>1387</Words>
  <Application>Microsoft Office PowerPoint</Application>
  <PresentationFormat>宽屏</PresentationFormat>
  <Paragraphs>94</Paragraphs>
  <Slides>9</Slides>
  <Notes>0</Notes>
  <HiddenSlides>0</HiddenSlides>
  <MMClips>0</MMClips>
  <ScaleCrop>false</ScaleCrop>
  <HeadingPairs>
    <vt:vector size="8" baseType="variant">
      <vt:variant>
        <vt:lpstr>已用的字体</vt:lpstr>
      </vt:variant>
      <vt:variant>
        <vt:i4>4</vt:i4>
      </vt:variant>
      <vt:variant>
        <vt:lpstr>主题</vt:lpstr>
      </vt:variant>
      <vt:variant>
        <vt:i4>2</vt:i4>
      </vt:variant>
      <vt:variant>
        <vt:lpstr>嵌入 OLE 服务器</vt:lpstr>
      </vt:variant>
      <vt:variant>
        <vt:i4>1</vt:i4>
      </vt:variant>
      <vt:variant>
        <vt:lpstr>幻灯片标题</vt:lpstr>
      </vt:variant>
      <vt:variant>
        <vt:i4>9</vt:i4>
      </vt:variant>
    </vt:vector>
  </HeadingPairs>
  <TitlesOfParts>
    <vt:vector size="16" baseType="lpstr">
      <vt:lpstr>等线</vt:lpstr>
      <vt:lpstr>Arial</vt:lpstr>
      <vt:lpstr>Tahoma</vt:lpstr>
      <vt:lpstr>Wingdings</vt:lpstr>
      <vt:lpstr>UCB 2022</vt:lpstr>
      <vt:lpstr>1_UCB 2022</vt:lpstr>
      <vt:lpstr>think-cell 幻灯片</vt:lpstr>
      <vt:lpstr>PowerPoint 演示文稿</vt:lpstr>
      <vt:lpstr>PowerPoint 演示文稿</vt:lpstr>
      <vt:lpstr>药品基本信息</vt:lpstr>
      <vt:lpstr>1. 药品基本信息</vt:lpstr>
      <vt:lpstr>安全性</vt:lpstr>
      <vt:lpstr>有效性</vt:lpstr>
      <vt:lpstr>创新性</vt:lpstr>
      <vt:lpstr>公平性</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cover slide with an image.</dc:title>
  <dc:creator>Liu Amber (CIIC)</dc:creator>
  <cp:lastModifiedBy>Lin Jiahui</cp:lastModifiedBy>
  <cp:revision>1</cp:revision>
  <dcterms:created xsi:type="dcterms:W3CDTF">2022-05-20T04:09:53Z</dcterms:created>
  <dcterms:modified xsi:type="dcterms:W3CDTF">2022-07-11T03:2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A9E6EE3D959C4D97B4945CAFBB40D1</vt:lpwstr>
  </property>
  <property fmtid="{D5CDD505-2E9C-101B-9397-08002B2CF9AE}" pid="3" name="MediaServiceImageTags">
    <vt:lpwstr/>
  </property>
  <property fmtid="{D5CDD505-2E9C-101B-9397-08002B2CF9AE}" pid="4" name="TaxCatchAll">
    <vt:lpwstr>2;#Shanghai</vt:lpwstr>
  </property>
  <property fmtid="{D5CDD505-2E9C-101B-9397-08002B2CF9AE}" pid="5" name="j4cf6babd12c43b1bd9be4426f93950a">
    <vt:lpwstr>Shanghai|35a2e73b-b429-4091-9d49-64cbe11058ed</vt:lpwstr>
  </property>
</Properties>
</file>